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4">
  <p:sldMasterIdLst>
    <p:sldMasterId id="2147483679" r:id="rId1"/>
    <p:sldMasterId id="2147485942" r:id="rId2"/>
  </p:sldMasterIdLst>
  <p:notesMasterIdLst>
    <p:notesMasterId r:id="rId35"/>
  </p:notesMasterIdLst>
  <p:handoutMasterIdLst>
    <p:handoutMasterId r:id="rId36"/>
  </p:handoutMasterIdLst>
  <p:sldIdLst>
    <p:sldId id="256" r:id="rId3"/>
    <p:sldId id="1881" r:id="rId4"/>
    <p:sldId id="5196" r:id="rId5"/>
    <p:sldId id="2223" r:id="rId6"/>
    <p:sldId id="2025" r:id="rId7"/>
    <p:sldId id="308" r:id="rId8"/>
    <p:sldId id="5172" r:id="rId9"/>
    <p:sldId id="2026" r:id="rId10"/>
    <p:sldId id="2209" r:id="rId11"/>
    <p:sldId id="403" r:id="rId12"/>
    <p:sldId id="5178" r:id="rId13"/>
    <p:sldId id="306" r:id="rId14"/>
    <p:sldId id="324" r:id="rId15"/>
    <p:sldId id="5176" r:id="rId16"/>
    <p:sldId id="2033" r:id="rId17"/>
    <p:sldId id="410" r:id="rId18"/>
    <p:sldId id="270" r:id="rId19"/>
    <p:sldId id="5177" r:id="rId20"/>
    <p:sldId id="2212" r:id="rId21"/>
    <p:sldId id="2221" r:id="rId22"/>
    <p:sldId id="2063" r:id="rId23"/>
    <p:sldId id="2068" r:id="rId24"/>
    <p:sldId id="2066" r:id="rId25"/>
    <p:sldId id="2065" r:id="rId26"/>
    <p:sldId id="2067" r:id="rId27"/>
    <p:sldId id="2222" r:id="rId28"/>
    <p:sldId id="2043" r:id="rId29"/>
    <p:sldId id="5195" r:id="rId30"/>
    <p:sldId id="5189" r:id="rId31"/>
    <p:sldId id="5193" r:id="rId32"/>
    <p:sldId id="5192" r:id="rId33"/>
    <p:sldId id="2031" r:id="rId34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3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pos="2845">
          <p15:clr>
            <a:srgbClr val="A4A3A4"/>
          </p15:clr>
        </p15:guide>
        <p15:guide id="4" pos="5155">
          <p15:clr>
            <a:srgbClr val="A4A3A4"/>
          </p15:clr>
        </p15:guide>
        <p15:guide id="5" pos="1997">
          <p15:clr>
            <a:srgbClr val="A4A3A4"/>
          </p15:clr>
        </p15:guide>
        <p15:guide id="6" pos="2784" userDrawn="1">
          <p15:clr>
            <a:srgbClr val="A4A3A4"/>
          </p15:clr>
        </p15:guide>
        <p15:guide id="7" pos="168" userDrawn="1">
          <p15:clr>
            <a:srgbClr val="A4A3A4"/>
          </p15:clr>
        </p15:guide>
        <p15:guide id="8" pos="55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7" userDrawn="1">
          <p15:clr>
            <a:srgbClr val="A4A3A4"/>
          </p15:clr>
        </p15:guide>
        <p15:guide id="2" pos="2228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vin Valles" initials="KV" lastIdx="9" clrIdx="0">
    <p:extLst>
      <p:ext uri="{19B8F6BF-5375-455C-9EA6-DF929625EA0E}">
        <p15:presenceInfo xmlns:p15="http://schemas.microsoft.com/office/powerpoint/2012/main" userId="Kevin Valles" providerId="None"/>
      </p:ext>
    </p:extLst>
  </p:cmAuthor>
  <p:cmAuthor id="2" name="Ryan Williams" initials="RW" lastIdx="2" clrIdx="1">
    <p:extLst>
      <p:ext uri="{19B8F6BF-5375-455C-9EA6-DF929625EA0E}">
        <p15:presenceInfo xmlns:p15="http://schemas.microsoft.com/office/powerpoint/2012/main" userId="S-1-5-21-1292428093-1547161642-1417001333-7726" providerId="AD"/>
      </p:ext>
    </p:extLst>
  </p:cmAuthor>
  <p:cmAuthor id="3" name="Elicia Sanchez" initials="ES" lastIdx="3" clrIdx="2">
    <p:extLst>
      <p:ext uri="{19B8F6BF-5375-455C-9EA6-DF929625EA0E}">
        <p15:presenceInfo xmlns:p15="http://schemas.microsoft.com/office/powerpoint/2012/main" userId="S-1-5-21-1292428093-1547161642-1417001333-1121" providerId="AD"/>
      </p:ext>
    </p:extLst>
  </p:cmAuthor>
  <p:cmAuthor id="4" name="David Carlson" initials="DC" lastIdx="7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CC"/>
    <a:srgbClr val="ABCFA1"/>
    <a:srgbClr val="008000"/>
    <a:srgbClr val="23639B"/>
    <a:srgbClr val="FF0000"/>
    <a:srgbClr val="FF00FF"/>
    <a:srgbClr val="D729CF"/>
    <a:srgbClr val="66FF66"/>
    <a:srgbClr val="7EC23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348" autoAdjust="0"/>
    <p:restoredTop sz="96725" autoAdjust="0"/>
  </p:normalViewPr>
  <p:slideViewPr>
    <p:cSldViewPr snapToGrid="0" snapToObjects="1" showGuides="1">
      <p:cViewPr varScale="1">
        <p:scale>
          <a:sx n="110" d="100"/>
          <a:sy n="110" d="100"/>
        </p:scale>
        <p:origin x="192" y="352"/>
      </p:cViewPr>
      <p:guideLst>
        <p:guide orient="horz" pos="533"/>
        <p:guide orient="horz" pos="2160"/>
        <p:guide pos="2845"/>
        <p:guide pos="5155"/>
        <p:guide pos="1997"/>
        <p:guide pos="2784"/>
        <p:guide pos="168"/>
        <p:guide pos="5568"/>
      </p:guideLst>
    </p:cSldViewPr>
  </p:slideViewPr>
  <p:outlineViewPr>
    <p:cViewPr>
      <p:scale>
        <a:sx n="33" d="100"/>
        <a:sy n="33" d="100"/>
      </p:scale>
      <p:origin x="0" y="-5872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3216"/>
    </p:cViewPr>
  </p:sorterViewPr>
  <p:notesViewPr>
    <p:cSldViewPr snapToGrid="0" snapToObjects="1" showGuides="1">
      <p:cViewPr varScale="1">
        <p:scale>
          <a:sx n="122" d="100"/>
          <a:sy n="122" d="100"/>
        </p:scale>
        <p:origin x="4488" y="200"/>
      </p:cViewPr>
      <p:guideLst>
        <p:guide orient="horz" pos="2947"/>
        <p:guide pos="2228"/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0" y="17"/>
            <a:ext cx="3038477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499" tIns="44240" rIns="88499" bIns="44240" numCol="1" anchor="t" anchorCtr="0" compatLnSpc="1">
            <a:prstTxWarp prst="textNoShape">
              <a:avLst/>
            </a:prstTxWarp>
          </a:bodyPr>
          <a:lstStyle>
            <a:lvl1pPr defTabSz="885704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699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62" y="17"/>
            <a:ext cx="3038477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499" tIns="44240" rIns="88499" bIns="44240" numCol="1" anchor="t" anchorCtr="0" compatLnSpc="1">
            <a:prstTxWarp prst="textNoShape">
              <a:avLst/>
            </a:prstTxWarp>
          </a:bodyPr>
          <a:lstStyle>
            <a:lvl1pPr algn="r" defTabSz="885704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699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0" y="8834465"/>
            <a:ext cx="3038477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499" tIns="44240" rIns="88499" bIns="44240" numCol="1" anchor="b" anchorCtr="0" compatLnSpc="1">
            <a:prstTxWarp prst="textNoShape">
              <a:avLst/>
            </a:prstTxWarp>
          </a:bodyPr>
          <a:lstStyle>
            <a:lvl1pPr defTabSz="885704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699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62" y="8834465"/>
            <a:ext cx="3038477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499" tIns="44240" rIns="88499" bIns="44240" numCol="1" anchor="b" anchorCtr="0" compatLnSpc="1">
            <a:prstTxWarp prst="textNoShape">
              <a:avLst/>
            </a:prstTxWarp>
          </a:bodyPr>
          <a:lstStyle>
            <a:lvl1pPr algn="r" defTabSz="885704">
              <a:defRPr sz="1100">
                <a:latin typeface="Arial" charset="0"/>
              </a:defRPr>
            </a:lvl1pPr>
          </a:lstStyle>
          <a:p>
            <a:pPr>
              <a:defRPr/>
            </a:pPr>
            <a:fld id="{25DBCC7C-9CEF-433D-9FAE-B2AEC90DF0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1053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2" y="17"/>
            <a:ext cx="3036888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t" anchorCtr="0" compatLnSpc="1">
            <a:prstTxWarp prst="textNoShape">
              <a:avLst/>
            </a:prstTxWarp>
          </a:bodyPr>
          <a:lstStyle>
            <a:lvl1pPr defTabSz="887278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948" y="17"/>
            <a:ext cx="3036888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t" anchorCtr="0" compatLnSpc="1">
            <a:prstTxWarp prst="textNoShape">
              <a:avLst/>
            </a:prstTxWarp>
          </a:bodyPr>
          <a:lstStyle>
            <a:lvl1pPr algn="r" defTabSz="887278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44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5863" y="701675"/>
            <a:ext cx="4643437" cy="3484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76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93" y="4416445"/>
            <a:ext cx="5607050" cy="4178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6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2" y="8834465"/>
            <a:ext cx="3036888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b" anchorCtr="0" compatLnSpc="1">
            <a:prstTxWarp prst="textNoShape">
              <a:avLst/>
            </a:prstTxWarp>
          </a:bodyPr>
          <a:lstStyle>
            <a:lvl1pPr defTabSz="887278">
              <a:defRPr sz="1100" dirty="0"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6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48" y="8834465"/>
            <a:ext cx="3036888" cy="46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8691" tIns="44349" rIns="88691" bIns="44349" numCol="1" anchor="b" anchorCtr="0" compatLnSpc="1">
            <a:prstTxWarp prst="textNoShape">
              <a:avLst/>
            </a:prstTxWarp>
          </a:bodyPr>
          <a:lstStyle>
            <a:lvl1pPr algn="r" defTabSz="887278">
              <a:defRPr sz="1100">
                <a:latin typeface="Arial" charset="0"/>
              </a:defRPr>
            </a:lvl1pPr>
          </a:lstStyle>
          <a:p>
            <a:pPr>
              <a:defRPr/>
            </a:pPr>
            <a:fld id="{BBF7F1ED-46F8-419C-911D-CE1C6778E7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2962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34946" indent="-282674"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30690" indent="-226138"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582961" indent="-226138"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035237" indent="-226138" defTabSz="887278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487508" indent="-226138" defTabSz="88727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939784" indent="-226138" defTabSz="88727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392065" indent="-226138" defTabSz="88727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44334" indent="-226138" defTabSz="88727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E8725B8D-F0DA-49D5-8A99-32E6565C33F2}" type="slidenum">
              <a:rPr lang="en-US" sz="1100">
                <a:latin typeface="Arial" pitchFamily="34" charset="0"/>
              </a:rPr>
              <a:pPr eaLnBrk="1" hangingPunct="1"/>
              <a:t>1</a:t>
            </a:fld>
            <a:endParaRPr lang="en-US" sz="1100" dirty="0">
              <a:latin typeface="Arial" pitchFamily="34" charset="0"/>
            </a:endParaRPr>
          </a:p>
        </p:txBody>
      </p:sp>
      <p:sp>
        <p:nvSpPr>
          <p:cNvPr id="145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1082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1B4040-588B-4E24-8EDB-F580DE5F541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2523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F7F1ED-46F8-419C-911D-CE1C6778E737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DD6EE6CD-6CD9-3528-36A1-176BAABEB4B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1568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5D4CAC-495F-024F-CFC8-AE9B75A328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7">
            <a:extLst>
              <a:ext uri="{FF2B5EF4-FFF2-40B4-BE49-F238E27FC236}">
                <a16:creationId xmlns:a16="http://schemas.microsoft.com/office/drawing/2014/main" id="{3B87BD06-A25B-6A4D-D35F-5E209B6E845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43177" indent="-285840"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354" indent="-228671"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600690" indent="-228671"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058032" indent="-228671"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515368" indent="-228671" defTabSz="897216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972710" indent="-228671" defTabSz="897216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430056" indent="-228671" defTabSz="897216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87391" indent="-228671" defTabSz="897216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E8725B8D-F0DA-49D5-8A99-32E6565C33F2}" type="slidenum">
              <a:rPr lang="en-US" sz="1100">
                <a:latin typeface="Arial" pitchFamily="34" charset="0"/>
              </a:rPr>
              <a:pPr eaLnBrk="1" hangingPunct="1"/>
              <a:t>11</a:t>
            </a:fld>
            <a:endParaRPr lang="en-US" sz="1100" dirty="0">
              <a:latin typeface="Arial" pitchFamily="34" charset="0"/>
            </a:endParaRPr>
          </a:p>
        </p:txBody>
      </p:sp>
      <p:sp>
        <p:nvSpPr>
          <p:cNvPr id="145411" name="Rectangle 2">
            <a:extLst>
              <a:ext uri="{FF2B5EF4-FFF2-40B4-BE49-F238E27FC236}">
                <a16:creationId xmlns:a16="http://schemas.microsoft.com/office/drawing/2014/main" id="{8EFB7E69-9188-CBC2-76DE-8462F96EEDC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2" name="Rectangle 3">
            <a:extLst>
              <a:ext uri="{FF2B5EF4-FFF2-40B4-BE49-F238E27FC236}">
                <a16:creationId xmlns:a16="http://schemas.microsoft.com/office/drawing/2014/main" id="{9DB340C9-EB4D-7948-1114-7E9994E35FE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5054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4B087C-48E4-4C73-A5FD-487A9CB38140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1280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4B087C-48E4-4C73-A5FD-487A9CB38140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9956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43177" indent="-285840"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354" indent="-228671"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600690" indent="-228671"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058032" indent="-228671" defTabSz="897216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515368" indent="-228671" defTabSz="897216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972710" indent="-228671" defTabSz="897216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430056" indent="-228671" defTabSz="897216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87391" indent="-228671" defTabSz="897216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fld id="{E8725B8D-F0DA-49D5-8A99-32E6565C33F2}" type="slidenum">
              <a:rPr lang="en-US" sz="1100">
                <a:latin typeface="Arial" pitchFamily="34" charset="0"/>
              </a:rPr>
              <a:pPr eaLnBrk="1" hangingPunct="1"/>
              <a:t>20</a:t>
            </a:fld>
            <a:endParaRPr lang="en-US" sz="1100" dirty="0">
              <a:latin typeface="Arial" pitchFamily="34" charset="0"/>
            </a:endParaRPr>
          </a:p>
        </p:txBody>
      </p:sp>
      <p:sp>
        <p:nvSpPr>
          <p:cNvPr id="145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54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108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rrowheads="1"/>
          </p:cNvSpPr>
          <p:nvPr userDrawn="1"/>
        </p:nvSpPr>
        <p:spPr bwMode="auto">
          <a:xfrm>
            <a:off x="927100" y="2590800"/>
            <a:ext cx="7256463" cy="109538"/>
          </a:xfrm>
          <a:custGeom>
            <a:avLst/>
            <a:gdLst>
              <a:gd name="T0" fmla="*/ 0 w 1000"/>
              <a:gd name="T1" fmla="*/ 0 h 1000"/>
              <a:gd name="T2" fmla="*/ 2147483647 w 1000"/>
              <a:gd name="T3" fmla="*/ 0 h 1000"/>
              <a:gd name="T4" fmla="*/ 2147483647 w 1000"/>
              <a:gd name="T5" fmla="*/ 2147483647 h 1000"/>
              <a:gd name="T6" fmla="*/ 0 w 1000"/>
              <a:gd name="T7" fmla="*/ 2147483647 h 1000"/>
              <a:gd name="T8" fmla="*/ 0 w 1000"/>
              <a:gd name="T9" fmla="*/ 0 h 1000"/>
              <a:gd name="T10" fmla="*/ 2147483647 w 1000"/>
              <a:gd name="T11" fmla="*/ 0 h 1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" h="1000" stroke="0">
                <a:moveTo>
                  <a:pt x="0" y="0"/>
                </a:moveTo>
                <a:lnTo>
                  <a:pt x="618" y="0"/>
                </a:lnTo>
                <a:lnTo>
                  <a:pt x="618" y="1000"/>
                </a:lnTo>
                <a:lnTo>
                  <a:pt x="0" y="1000"/>
                </a:lnTo>
                <a:lnTo>
                  <a:pt x="0" y="0"/>
                </a:lnTo>
                <a:close/>
              </a:path>
              <a:path w="1000" h="1000">
                <a:moveTo>
                  <a:pt x="0" y="0"/>
                </a:moveTo>
                <a:lnTo>
                  <a:pt x="1000" y="0"/>
                </a:lnTo>
              </a:path>
            </a:pathLst>
          </a:custGeom>
          <a:solidFill>
            <a:srgbClr val="23639B"/>
          </a:solidFill>
          <a:ln w="9525">
            <a:solidFill>
              <a:srgbClr val="003399"/>
            </a:solidFill>
            <a:round/>
            <a:headEnd/>
            <a:tailEnd/>
          </a:ln>
        </p:spPr>
        <p:txBody>
          <a:bodyPr lIns="91418" tIns="45709" rIns="91418" bIns="45709"/>
          <a:lstStyle/>
          <a:p>
            <a:endParaRPr lang="en-US" dirty="0"/>
          </a:p>
        </p:txBody>
      </p:sp>
      <p:sp>
        <p:nvSpPr>
          <p:cNvPr id="5" name="Line 13"/>
          <p:cNvSpPr>
            <a:spLocks noChangeShapeType="1"/>
          </p:cNvSpPr>
          <p:nvPr userDrawn="1"/>
        </p:nvSpPr>
        <p:spPr bwMode="auto">
          <a:xfrm>
            <a:off x="914400" y="4572000"/>
            <a:ext cx="72691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9AA1147-C3C6-45D7-86D6-D0D6323727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099" y="1219200"/>
            <a:ext cx="2612239" cy="125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295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461125"/>
            <a:ext cx="2133600" cy="320675"/>
          </a:xfrm>
        </p:spPr>
        <p:txBody>
          <a:bodyPr/>
          <a:lstStyle/>
          <a:p>
            <a:fld id="{DF42F1E4-77AF-41FB-ACD2-C5984ECA9241}" type="datetimeFigureOut">
              <a:rPr lang="en-US" smtClean="0"/>
              <a:pPr/>
              <a:t>4/8/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461125"/>
            <a:ext cx="2895600" cy="32067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77000"/>
            <a:ext cx="2133600" cy="320675"/>
          </a:xfrm>
        </p:spPr>
        <p:txBody>
          <a:bodyPr/>
          <a:lstStyle/>
          <a:p>
            <a:fld id="{2830A194-8F98-4ED7-87E6-BFA2E14CF0A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1188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rrowheads="1"/>
          </p:cNvSpPr>
          <p:nvPr userDrawn="1"/>
        </p:nvSpPr>
        <p:spPr bwMode="auto">
          <a:xfrm>
            <a:off x="927100" y="2590800"/>
            <a:ext cx="7256463" cy="109538"/>
          </a:xfrm>
          <a:custGeom>
            <a:avLst/>
            <a:gdLst>
              <a:gd name="T0" fmla="*/ 0 w 1000"/>
              <a:gd name="T1" fmla="*/ 0 h 1000"/>
              <a:gd name="T2" fmla="*/ 2147483647 w 1000"/>
              <a:gd name="T3" fmla="*/ 0 h 1000"/>
              <a:gd name="T4" fmla="*/ 2147483647 w 1000"/>
              <a:gd name="T5" fmla="*/ 2147483647 h 1000"/>
              <a:gd name="T6" fmla="*/ 0 w 1000"/>
              <a:gd name="T7" fmla="*/ 2147483647 h 1000"/>
              <a:gd name="T8" fmla="*/ 0 w 1000"/>
              <a:gd name="T9" fmla="*/ 0 h 1000"/>
              <a:gd name="T10" fmla="*/ 2147483647 w 1000"/>
              <a:gd name="T11" fmla="*/ 0 h 1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" h="1000" stroke="0">
                <a:moveTo>
                  <a:pt x="0" y="0"/>
                </a:moveTo>
                <a:lnTo>
                  <a:pt x="618" y="0"/>
                </a:lnTo>
                <a:lnTo>
                  <a:pt x="618" y="1000"/>
                </a:lnTo>
                <a:lnTo>
                  <a:pt x="0" y="1000"/>
                </a:lnTo>
                <a:lnTo>
                  <a:pt x="0" y="0"/>
                </a:lnTo>
                <a:close/>
              </a:path>
              <a:path w="1000" h="1000">
                <a:moveTo>
                  <a:pt x="0" y="0"/>
                </a:moveTo>
                <a:lnTo>
                  <a:pt x="1000" y="0"/>
                </a:lnTo>
              </a:path>
            </a:pathLst>
          </a:custGeom>
          <a:solidFill>
            <a:srgbClr val="23639B"/>
          </a:solidFill>
          <a:ln w="9525">
            <a:solidFill>
              <a:srgbClr val="003399"/>
            </a:solidFill>
            <a:round/>
            <a:headEnd/>
            <a:tailEnd/>
          </a:ln>
        </p:spPr>
        <p:txBody>
          <a:bodyPr lIns="91418" tIns="45709" rIns="91418" bIns="45709"/>
          <a:lstStyle/>
          <a:p>
            <a:endParaRPr lang="en-US" dirty="0"/>
          </a:p>
        </p:txBody>
      </p:sp>
      <p:sp>
        <p:nvSpPr>
          <p:cNvPr id="5" name="Line 13"/>
          <p:cNvSpPr>
            <a:spLocks noChangeShapeType="1"/>
          </p:cNvSpPr>
          <p:nvPr userDrawn="1"/>
        </p:nvSpPr>
        <p:spPr bwMode="auto">
          <a:xfrm>
            <a:off x="914400" y="4572000"/>
            <a:ext cx="72691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9AA1147-C3C6-45D7-86D6-D0D6323727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099" y="1219200"/>
            <a:ext cx="2612239" cy="1259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702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y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03820" y="2457974"/>
            <a:ext cx="6677637" cy="510330"/>
          </a:xfrm>
        </p:spPr>
        <p:txBody>
          <a:bodyPr/>
          <a:lstStyle>
            <a:lvl1pPr algn="ctr">
              <a:defRPr sz="4000" b="0" baseline="0"/>
            </a:lvl1pPr>
          </a:lstStyle>
          <a:p>
            <a:r>
              <a:rPr lang="en-US" dirty="0"/>
              <a:t>Click to edit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847288" y="3363986"/>
            <a:ext cx="7390701" cy="0"/>
          </a:xfrm>
          <a:prstGeom prst="line">
            <a:avLst/>
          </a:prstGeom>
          <a:noFill/>
          <a:ln w="19050" cap="flat" cmpd="sng" algn="ctr">
            <a:solidFill>
              <a:srgbClr val="2363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 userDrawn="1"/>
        </p:nvCxnSpPr>
        <p:spPr bwMode="auto">
          <a:xfrm>
            <a:off x="771787" y="2056702"/>
            <a:ext cx="7541703" cy="0"/>
          </a:xfrm>
          <a:prstGeom prst="line">
            <a:avLst/>
          </a:prstGeom>
          <a:noFill/>
          <a:ln w="38100" cap="flat" cmpd="sng" algn="ctr">
            <a:solidFill>
              <a:srgbClr val="2363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/>
          <a:lstStyle>
            <a:lvl1pPr algn="ctr">
              <a:defRPr>
                <a:latin typeface="+mj-lt"/>
              </a:defRPr>
            </a:lvl1pPr>
          </a:lstStyle>
          <a:p>
            <a:pPr>
              <a:defRPr/>
            </a:pPr>
            <a:fld id="{E2171D9C-CAE3-4B39-BFDD-45CC9752C41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8592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16281600"/>
              </p:ext>
            </p:extLst>
          </p:nvPr>
        </p:nvGraphicFramePr>
        <p:xfrm>
          <a:off x="619456" y="949508"/>
          <a:ext cx="7955048" cy="48513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5264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8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14162819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0175" y="834821"/>
            <a:ext cx="8778934" cy="5324475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1pPr>
            <a:lvl2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2pPr>
            <a:lvl3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3pPr>
            <a:lvl4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4pPr>
            <a:lvl5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26036273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2" y="1184861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629309" y="1182847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131412" y="3952612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629309" y="3952612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629939" y="857075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4629939" y="3628238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21066317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2" y="1184861"/>
            <a:ext cx="4245004" cy="4863601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4629309" y="1182847"/>
            <a:ext cx="4245004" cy="4863601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629939" y="857075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215821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1" y="1184861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131411" y="3952612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12391370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ox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1" y="830511"/>
            <a:ext cx="8752529" cy="2592814"/>
          </a:xfrm>
          <a:ln>
            <a:noFill/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131411" y="3952612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1178050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6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96580" y="855676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38113" y="1949740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2002651" y="1949740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8113" y="3043804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2002651" y="3043804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138113" y="4137868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2002651" y="4137868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138113" y="5231932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2"/>
          </p:nvPr>
        </p:nvSpPr>
        <p:spPr>
          <a:xfrm>
            <a:off x="2002651" y="5231932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0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2187150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y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03820" y="2457974"/>
            <a:ext cx="6677637" cy="510330"/>
          </a:xfrm>
        </p:spPr>
        <p:txBody>
          <a:bodyPr/>
          <a:lstStyle>
            <a:lvl1pPr algn="ctr">
              <a:defRPr sz="4000" b="0" baseline="0"/>
            </a:lvl1pPr>
          </a:lstStyle>
          <a:p>
            <a:r>
              <a:rPr lang="en-US" dirty="0"/>
              <a:t>Click to edit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847288" y="3363986"/>
            <a:ext cx="7390701" cy="0"/>
          </a:xfrm>
          <a:prstGeom prst="line">
            <a:avLst/>
          </a:prstGeom>
          <a:noFill/>
          <a:ln w="19050" cap="flat" cmpd="sng" algn="ctr">
            <a:solidFill>
              <a:srgbClr val="2363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Straight Connector 6"/>
          <p:cNvCxnSpPr/>
          <p:nvPr userDrawn="1"/>
        </p:nvCxnSpPr>
        <p:spPr bwMode="auto">
          <a:xfrm>
            <a:off x="771787" y="2056702"/>
            <a:ext cx="7541703" cy="0"/>
          </a:xfrm>
          <a:prstGeom prst="line">
            <a:avLst/>
          </a:prstGeom>
          <a:noFill/>
          <a:ln w="38100" cap="flat" cmpd="sng" algn="ctr">
            <a:solidFill>
              <a:srgbClr val="23639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/>
          <a:lstStyle>
            <a:lvl1pPr algn="ctr">
              <a:defRPr>
                <a:latin typeface="+mj-lt"/>
              </a:defRPr>
            </a:lvl1pPr>
          </a:lstStyle>
          <a:p>
            <a:pPr>
              <a:defRPr/>
            </a:pPr>
            <a:fld id="{E2171D9C-CAE3-4B39-BFDD-45CC9752C41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729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16281600"/>
              </p:ext>
            </p:extLst>
          </p:nvPr>
        </p:nvGraphicFramePr>
        <p:xfrm>
          <a:off x="619456" y="949508"/>
          <a:ext cx="7955048" cy="48513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5264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8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1036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latin typeface="Times New Roman" pitchFamily="18" charset="0"/>
                        </a:rPr>
                        <a:t>Samp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>
                          <a:latin typeface="Times New Roman" pitchFamily="18" charset="0"/>
                        </a:rPr>
                        <a:t>[  ]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5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8112190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773" y="50334"/>
            <a:ext cx="8486456" cy="51033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772" y="834821"/>
            <a:ext cx="8486456" cy="5324475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1pPr>
            <a:lvl2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2pPr>
            <a:lvl3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3pPr>
            <a:lvl4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4pPr>
            <a:lvl5pPr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21935773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2" y="1184861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/>
          </p:nvPr>
        </p:nvSpPr>
        <p:spPr>
          <a:xfrm>
            <a:off x="4629309" y="1182847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131412" y="3952612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4629309" y="3952612"/>
            <a:ext cx="4245004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629939" y="857075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4629939" y="3628238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3460336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2" y="1184861"/>
            <a:ext cx="4245004" cy="4863601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</p:nvPr>
        </p:nvSpPr>
        <p:spPr>
          <a:xfrm>
            <a:off x="4629309" y="1182847"/>
            <a:ext cx="4245004" cy="4863601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4629939" y="857075"/>
            <a:ext cx="4243745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4014810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1" y="1184861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131411" y="3952612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7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458837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box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31411" y="830511"/>
            <a:ext cx="8752529" cy="2592814"/>
          </a:xfrm>
          <a:ln>
            <a:noFill/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2"/>
          </p:nvPr>
        </p:nvSpPr>
        <p:spPr>
          <a:xfrm>
            <a:off x="131411" y="3952612"/>
            <a:ext cx="8752529" cy="2238463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600" baseline="0"/>
            </a:lvl2pPr>
            <a:lvl3pPr marL="687388" indent="-225425">
              <a:defRPr sz="1600" baseline="0"/>
            </a:lvl3pPr>
            <a:lvl4pPr marL="914400" indent="-227013">
              <a:defRPr sz="1600" baseline="0"/>
            </a:lvl4pPr>
            <a:lvl5pPr marL="1141413" indent="-227013">
              <a:defRPr sz="1600"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2042" y="3628238"/>
            <a:ext cx="8749933" cy="329184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29579091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32042" y="855676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96580" y="855676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38113" y="1949740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6"/>
          </p:nvPr>
        </p:nvSpPr>
        <p:spPr>
          <a:xfrm>
            <a:off x="2002651" y="1949740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8113" y="3043804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8"/>
          </p:nvPr>
        </p:nvSpPr>
        <p:spPr>
          <a:xfrm>
            <a:off x="2002651" y="3043804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138113" y="4137868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idx="20"/>
          </p:nvPr>
        </p:nvSpPr>
        <p:spPr>
          <a:xfrm>
            <a:off x="2002651" y="4137868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138113" y="5231932"/>
            <a:ext cx="1864537" cy="637563"/>
          </a:xfrm>
          <a:solidFill>
            <a:srgbClr val="23639B"/>
          </a:solidFill>
          <a:ln>
            <a:solidFill>
              <a:srgbClr val="23639B"/>
            </a:solidFill>
          </a:ln>
        </p:spPr>
        <p:txBody>
          <a:bodyPr/>
          <a:lstStyle>
            <a:lvl1pPr marL="0" indent="0">
              <a:buNone/>
              <a:defRPr sz="1600" b="1" baseline="0">
                <a:solidFill>
                  <a:schemeClr val="bg1"/>
                </a:solidFill>
                <a:latin typeface="Times New Roman" pitchFamily="18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22"/>
          </p:nvPr>
        </p:nvSpPr>
        <p:spPr>
          <a:xfrm>
            <a:off x="2002651" y="5231932"/>
            <a:ext cx="6887360" cy="640080"/>
          </a:xfrm>
          <a:ln>
            <a:solidFill>
              <a:srgbClr val="23639B"/>
            </a:solidFill>
          </a:ln>
        </p:spPr>
        <p:txBody>
          <a:bodyPr/>
          <a:lstStyle>
            <a:lvl1pPr marL="227013" indent="-227013">
              <a:defRPr sz="1600" baseline="0"/>
            </a:lvl1pPr>
            <a:lvl2pPr marL="461963" indent="-234950">
              <a:defRPr sz="1200" baseline="0"/>
            </a:lvl2pPr>
            <a:lvl3pPr marL="687388" indent="-225425">
              <a:defRPr sz="1200" baseline="0"/>
            </a:lvl3pPr>
            <a:lvl4pPr marL="914400" indent="-227013">
              <a:defRPr sz="1200" baseline="0"/>
            </a:lvl4pPr>
            <a:lvl5pPr marL="1141413" indent="-227013">
              <a:defRPr sz="1200"/>
            </a:lvl5pPr>
          </a:lstStyle>
          <a:p>
            <a:pPr lvl="0"/>
            <a:endParaRPr lang="en-US" dirty="0"/>
          </a:p>
        </p:txBody>
      </p:sp>
      <p:sp>
        <p:nvSpPr>
          <p:cNvPr id="20" name="Rectangle 9"/>
          <p:cNvSpPr txBox="1">
            <a:spLocks noChangeArrowheads="1"/>
          </p:cNvSpPr>
          <p:nvPr userDrawn="1"/>
        </p:nvSpPr>
        <p:spPr>
          <a:xfrm>
            <a:off x="8382000" y="6426428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b="1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2171D9C-CAE3-4B39-BFDD-45CC9752C418}" type="slidenum">
              <a:rPr lang="en-US" i="0" smtClean="0"/>
              <a:pPr>
                <a:defRPr/>
              </a:pPr>
              <a:t>‹#›</a:t>
            </a:fld>
            <a:endParaRPr lang="en-US" i="0" dirty="0"/>
          </a:p>
        </p:txBody>
      </p:sp>
    </p:spTree>
    <p:extLst>
      <p:ext uri="{BB962C8B-B14F-4D97-AF65-F5344CB8AC3E}">
        <p14:creationId xmlns:p14="http://schemas.microsoft.com/office/powerpoint/2010/main" val="94004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5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130175" y="834821"/>
            <a:ext cx="8845550" cy="5324475"/>
          </a:xfrm>
          <a:prstGeom prst="rect">
            <a:avLst/>
          </a:prstGeom>
          <a:noFill/>
          <a:ln w="12700">
            <a:solidFill>
              <a:srgbClr val="23639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68" tIns="44440" rIns="90468" bIns="44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est</a:t>
            </a:r>
          </a:p>
          <a:p>
            <a:pPr lvl="1"/>
            <a:r>
              <a:rPr lang="en-US" dirty="0"/>
              <a:t>Test</a:t>
            </a:r>
          </a:p>
          <a:p>
            <a:pPr lvl="2"/>
            <a:r>
              <a:rPr lang="en-US" dirty="0"/>
              <a:t>Test</a:t>
            </a:r>
          </a:p>
          <a:p>
            <a:pPr lvl="3"/>
            <a:r>
              <a:rPr lang="en-US" dirty="0"/>
              <a:t>Test</a:t>
            </a:r>
          </a:p>
          <a:p>
            <a:pPr lvl="4"/>
            <a:r>
              <a:rPr lang="en-US" dirty="0"/>
              <a:t>Test</a:t>
            </a:r>
          </a:p>
        </p:txBody>
      </p:sp>
      <p:sp>
        <p:nvSpPr>
          <p:cNvPr id="103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57150" y="50334"/>
            <a:ext cx="8839200" cy="510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8" tIns="45709" rIns="91418" bIns="457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Rectangle 9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382000" y="6421130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lvl1pPr algn="ctr">
              <a:defRPr sz="1000" b="1" i="0">
                <a:latin typeface="+mj-lt"/>
              </a:defRPr>
            </a:lvl1pPr>
          </a:lstStyle>
          <a:p>
            <a:pPr>
              <a:defRPr/>
            </a:pPr>
            <a:fld id="{E2171D9C-CAE3-4B39-BFDD-45CC9752C41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Line 3"/>
          <p:cNvSpPr>
            <a:spLocks noChangeShapeType="1"/>
          </p:cNvSpPr>
          <p:nvPr userDrawn="1"/>
        </p:nvSpPr>
        <p:spPr bwMode="auto">
          <a:xfrm>
            <a:off x="0" y="685800"/>
            <a:ext cx="9144000" cy="0"/>
          </a:xfrm>
          <a:prstGeom prst="line">
            <a:avLst/>
          </a:prstGeom>
          <a:noFill/>
          <a:ln w="38100">
            <a:solidFill>
              <a:srgbClr val="2363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4" name="Line 3"/>
          <p:cNvSpPr>
            <a:spLocks noChangeShapeType="1"/>
          </p:cNvSpPr>
          <p:nvPr userDrawn="1"/>
        </p:nvSpPr>
        <p:spPr bwMode="auto">
          <a:xfrm>
            <a:off x="0" y="6362700"/>
            <a:ext cx="9144000" cy="0"/>
          </a:xfrm>
          <a:prstGeom prst="line">
            <a:avLst/>
          </a:prstGeom>
          <a:noFill/>
          <a:ln w="12700">
            <a:solidFill>
              <a:srgbClr val="2363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70899D-F8F8-45AA-A48E-74A41BDA2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387792"/>
            <a:ext cx="1143109" cy="45166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931" r:id="rId1"/>
    <p:sldLayoutId id="2147485935" r:id="rId2"/>
    <p:sldLayoutId id="2147485934" r:id="rId3"/>
    <p:sldLayoutId id="2147485785" r:id="rId4"/>
    <p:sldLayoutId id="2147485936" r:id="rId5"/>
    <p:sldLayoutId id="2147485938" r:id="rId6"/>
    <p:sldLayoutId id="2147485937" r:id="rId7"/>
    <p:sldLayoutId id="2147485940" r:id="rId8"/>
    <p:sldLayoutId id="2147485939" r:id="rId9"/>
    <p:sldLayoutId id="2147485941" r:id="rId1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aseline="0">
          <a:solidFill>
            <a:schemeClr val="tx2"/>
          </a:solidFill>
          <a:latin typeface="Times New Roman" pitchFamily="18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9pPr>
    </p:titleStyle>
    <p:bodyStyle>
      <a:lvl1pPr marL="227013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80000"/>
        <a:buFont typeface="Arial" pitchFamily="34" charset="0"/>
        <a:buChar char="►"/>
        <a:defRPr sz="1600" baseline="0">
          <a:solidFill>
            <a:schemeClr val="tx1"/>
          </a:solidFill>
          <a:latin typeface="Times New Roman" pitchFamily="18" charset="0"/>
          <a:ea typeface="+mn-ea"/>
          <a:cs typeface="+mn-cs"/>
        </a:defRPr>
      </a:lvl1pPr>
      <a:lvl2pPr marL="461963" indent="-23495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80000"/>
        <a:buFont typeface="Arial" pitchFamily="34" charset="0"/>
        <a:buChar char="■"/>
        <a:defRPr sz="1600" baseline="0">
          <a:solidFill>
            <a:schemeClr val="tx1"/>
          </a:solidFill>
          <a:latin typeface="Times New Roman" pitchFamily="18" charset="0"/>
        </a:defRPr>
      </a:lvl2pPr>
      <a:lvl3pPr marL="687388" indent="-22542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Wingdings" pitchFamily="2" charset="2"/>
        <a:buChar char="t"/>
        <a:defRPr sz="1600" baseline="0">
          <a:solidFill>
            <a:schemeClr val="tx1"/>
          </a:solidFill>
          <a:latin typeface="Times New Roman" pitchFamily="18" charset="0"/>
        </a:defRPr>
      </a:lvl3pPr>
      <a:lvl4pPr marL="914400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Arial" pitchFamily="34" charset="0"/>
        <a:buChar char="●"/>
        <a:defRPr sz="1600" baseline="0">
          <a:solidFill>
            <a:schemeClr val="tx1"/>
          </a:solidFill>
          <a:latin typeface="Times New Roman" pitchFamily="18" charset="0"/>
        </a:defRPr>
      </a:lvl4pPr>
      <a:lvl5pPr marL="1141413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Arial" pitchFamily="34" charset="0"/>
        <a:buChar char="▪"/>
        <a:defRPr sz="1600" baseline="0">
          <a:solidFill>
            <a:schemeClr val="tx1"/>
          </a:solidFill>
          <a:latin typeface="Times New Roman" pitchFamily="18" charset="0"/>
        </a:defRPr>
      </a:lvl5pPr>
      <a:lvl6pPr marL="25146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130175" y="834821"/>
            <a:ext cx="8845550" cy="5324475"/>
          </a:xfrm>
          <a:prstGeom prst="rect">
            <a:avLst/>
          </a:prstGeom>
          <a:noFill/>
          <a:ln w="12700">
            <a:solidFill>
              <a:srgbClr val="23639B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468" tIns="44440" rIns="90468" bIns="44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Test</a:t>
            </a:r>
          </a:p>
          <a:p>
            <a:pPr lvl="1"/>
            <a:r>
              <a:rPr lang="en-US" dirty="0"/>
              <a:t>Test</a:t>
            </a:r>
          </a:p>
          <a:p>
            <a:pPr lvl="2"/>
            <a:r>
              <a:rPr lang="en-US" dirty="0"/>
              <a:t>Test</a:t>
            </a:r>
          </a:p>
          <a:p>
            <a:pPr lvl="3"/>
            <a:r>
              <a:rPr lang="en-US" dirty="0"/>
              <a:t>Test</a:t>
            </a:r>
          </a:p>
          <a:p>
            <a:pPr lvl="4"/>
            <a:r>
              <a:rPr lang="en-US" dirty="0"/>
              <a:t>Test</a:t>
            </a:r>
          </a:p>
        </p:txBody>
      </p:sp>
      <p:sp>
        <p:nvSpPr>
          <p:cNvPr id="1030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57150" y="50334"/>
            <a:ext cx="8839200" cy="510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8" tIns="45709" rIns="91418" bIns="457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Rectangle 9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382000" y="6421130"/>
            <a:ext cx="762000" cy="381000"/>
          </a:xfrm>
          <a:prstGeom prst="rect">
            <a:avLst/>
          </a:prstGeom>
          <a:ln/>
        </p:spPr>
        <p:txBody>
          <a:bodyPr anchor="ctr" anchorCtr="0"/>
          <a:lstStyle>
            <a:lvl1pPr algn="ctr">
              <a:defRPr sz="1000" b="1" i="0">
                <a:latin typeface="+mj-lt"/>
              </a:defRPr>
            </a:lvl1pPr>
          </a:lstStyle>
          <a:p>
            <a:pPr>
              <a:defRPr/>
            </a:pPr>
            <a:fld id="{E2171D9C-CAE3-4B39-BFDD-45CC9752C41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" name="Line 3"/>
          <p:cNvSpPr>
            <a:spLocks noChangeShapeType="1"/>
          </p:cNvSpPr>
          <p:nvPr userDrawn="1"/>
        </p:nvSpPr>
        <p:spPr bwMode="auto">
          <a:xfrm>
            <a:off x="0" y="685800"/>
            <a:ext cx="9144000" cy="0"/>
          </a:xfrm>
          <a:prstGeom prst="line">
            <a:avLst/>
          </a:prstGeom>
          <a:noFill/>
          <a:ln w="38100">
            <a:solidFill>
              <a:srgbClr val="2363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4" name="Line 3"/>
          <p:cNvSpPr>
            <a:spLocks noChangeShapeType="1"/>
          </p:cNvSpPr>
          <p:nvPr userDrawn="1"/>
        </p:nvSpPr>
        <p:spPr bwMode="auto">
          <a:xfrm>
            <a:off x="0" y="6362700"/>
            <a:ext cx="9144000" cy="0"/>
          </a:xfrm>
          <a:prstGeom prst="line">
            <a:avLst/>
          </a:prstGeom>
          <a:noFill/>
          <a:ln w="12700">
            <a:solidFill>
              <a:srgbClr val="23639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70899D-F8F8-45AA-A48E-74A41BDA26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387792"/>
            <a:ext cx="1143109" cy="451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118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43" r:id="rId1"/>
    <p:sldLayoutId id="2147485944" r:id="rId2"/>
    <p:sldLayoutId id="2147485945" r:id="rId3"/>
    <p:sldLayoutId id="2147485946" r:id="rId4"/>
    <p:sldLayoutId id="2147485947" r:id="rId5"/>
    <p:sldLayoutId id="2147485948" r:id="rId6"/>
    <p:sldLayoutId id="2147485949" r:id="rId7"/>
    <p:sldLayoutId id="2147485950" r:id="rId8"/>
    <p:sldLayoutId id="2147485951" r:id="rId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aseline="0">
          <a:solidFill>
            <a:schemeClr val="tx2"/>
          </a:solidFill>
          <a:latin typeface="Times New Roman" pitchFamily="18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Verdana" pitchFamily="34" charset="0"/>
        </a:defRPr>
      </a:lvl9pPr>
    </p:titleStyle>
    <p:bodyStyle>
      <a:lvl1pPr marL="227013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80000"/>
        <a:buFont typeface="Arial" pitchFamily="34" charset="0"/>
        <a:buChar char="►"/>
        <a:defRPr sz="1600" baseline="0">
          <a:solidFill>
            <a:schemeClr val="tx1"/>
          </a:solidFill>
          <a:latin typeface="Times New Roman" pitchFamily="18" charset="0"/>
          <a:ea typeface="+mn-ea"/>
          <a:cs typeface="+mn-cs"/>
        </a:defRPr>
      </a:lvl1pPr>
      <a:lvl2pPr marL="461963" indent="-234950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80000"/>
        <a:buFont typeface="Arial" pitchFamily="34" charset="0"/>
        <a:buChar char="■"/>
        <a:defRPr sz="1600" baseline="0">
          <a:solidFill>
            <a:schemeClr val="tx1"/>
          </a:solidFill>
          <a:latin typeface="Times New Roman" pitchFamily="18" charset="0"/>
        </a:defRPr>
      </a:lvl2pPr>
      <a:lvl3pPr marL="687388" indent="-22542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Wingdings" pitchFamily="2" charset="2"/>
        <a:buChar char="t"/>
        <a:defRPr sz="1600" baseline="0">
          <a:solidFill>
            <a:schemeClr val="tx1"/>
          </a:solidFill>
          <a:latin typeface="Times New Roman" pitchFamily="18" charset="0"/>
        </a:defRPr>
      </a:lvl3pPr>
      <a:lvl4pPr marL="914400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Arial" pitchFamily="34" charset="0"/>
        <a:buChar char="●"/>
        <a:defRPr sz="1600" baseline="0">
          <a:solidFill>
            <a:schemeClr val="tx1"/>
          </a:solidFill>
          <a:latin typeface="Times New Roman" pitchFamily="18" charset="0"/>
        </a:defRPr>
      </a:lvl4pPr>
      <a:lvl5pPr marL="1141413" indent="-2270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23639B"/>
        </a:buClr>
        <a:buSzPct val="75000"/>
        <a:buFont typeface="Arial" pitchFamily="34" charset="0"/>
        <a:buChar char="▪"/>
        <a:defRPr sz="1600" baseline="0">
          <a:solidFill>
            <a:schemeClr val="tx1"/>
          </a:solidFill>
          <a:latin typeface="Times New Roman" pitchFamily="18" charset="0"/>
        </a:defRPr>
      </a:lvl5pPr>
      <a:lvl6pPr marL="25146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5000"/>
        </a:spcBef>
        <a:spcAft>
          <a:spcPct val="0"/>
        </a:spcAft>
        <a:buClr>
          <a:srgbClr val="003399"/>
        </a:buClr>
        <a:buSzPct val="75000"/>
        <a:buFont typeface="Arial" charset="0"/>
        <a:buChar char="▪"/>
        <a:defRPr sz="1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1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w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1045749" y="2921579"/>
            <a:ext cx="7724865" cy="1077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18" tIns="45709" rIns="91418" bIns="45709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Waste Control Specialists</a:t>
            </a:r>
          </a:p>
          <a:p>
            <a:pPr eaLnBrk="1" hangingPunct="1"/>
            <a:endParaRPr lang="en-US" sz="18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/>
            <a:r>
              <a:rPr lang="en-US" sz="1800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Spring 2025 - LLW Forum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7CA761-826D-5E40-80C7-E323EB6DC27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57549" y="2732205"/>
            <a:ext cx="1905000" cy="1763719"/>
          </a:xfrm>
          <a:prstGeom prst="rect">
            <a:avLst/>
          </a:prstGeom>
        </p:spPr>
      </p:pic>
      <p:sp>
        <p:nvSpPr>
          <p:cNvPr id="6" name="5-Point Star 5">
            <a:extLst>
              <a:ext uri="{FF2B5EF4-FFF2-40B4-BE49-F238E27FC236}">
                <a16:creationId xmlns:a16="http://schemas.microsoft.com/office/drawing/2014/main" id="{C8A2EEDF-D7AF-9E41-8BB0-54E006A06709}"/>
              </a:ext>
            </a:extLst>
          </p:cNvPr>
          <p:cNvSpPr/>
          <p:nvPr/>
        </p:nvSpPr>
        <p:spPr bwMode="auto">
          <a:xfrm>
            <a:off x="7040149" y="3284220"/>
            <a:ext cx="182880" cy="182880"/>
          </a:xfrm>
          <a:prstGeom prst="star5">
            <a:avLst/>
          </a:prstGeom>
          <a:solidFill>
            <a:srgbClr val="FFC000"/>
          </a:solidFill>
          <a:ln>
            <a:solidFill>
              <a:schemeClr val="tx1"/>
            </a:solidFill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500" y="50334"/>
            <a:ext cx="8451850" cy="510330"/>
          </a:xfrm>
        </p:spPr>
        <p:txBody>
          <a:bodyPr>
            <a:noAutofit/>
          </a:bodyPr>
          <a:lstStyle/>
          <a:p>
            <a:r>
              <a:rPr lang="en-US" dirty="0"/>
              <a:t>RCRA Subtitle C Landfill (Low Activity Wast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0A194-8F98-4ED7-87E6-BFA2E14CF0A2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89932"/>
            <a:ext cx="9144000" cy="51816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B767EA4-826A-8D17-5307-DCF59305003D}"/>
              </a:ext>
            </a:extLst>
          </p:cNvPr>
          <p:cNvSpPr/>
          <p:nvPr/>
        </p:nvSpPr>
        <p:spPr>
          <a:xfrm>
            <a:off x="6107207" y="889932"/>
            <a:ext cx="3025586" cy="1015663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>
            <a:spAutoFit/>
          </a:bodyPr>
          <a:lstStyle/>
          <a:p>
            <a:pPr indent="-914400"/>
            <a:r>
              <a:rPr lang="en-US" sz="1200" dirty="0"/>
              <a:t>Regulated by TCEQ</a:t>
            </a:r>
          </a:p>
          <a:p>
            <a:pPr indent="-914400"/>
            <a:r>
              <a:rPr lang="en-US" sz="1200" dirty="0"/>
              <a:t>Privately-developed and operated</a:t>
            </a:r>
          </a:p>
          <a:p>
            <a:pPr indent="-914400"/>
            <a:r>
              <a:rPr lang="en-US" sz="1200" dirty="0"/>
              <a:t>Opened in 1994</a:t>
            </a:r>
          </a:p>
          <a:p>
            <a:pPr indent="-914400"/>
            <a:r>
              <a:rPr lang="en-US" sz="1200" dirty="0"/>
              <a:t>Accepts Exempt waste up to about</a:t>
            </a:r>
          </a:p>
          <a:p>
            <a:pPr indent="-914400"/>
            <a:r>
              <a:rPr lang="en-US" sz="1200" dirty="0"/>
              <a:t>      10% of the Class A limit</a:t>
            </a:r>
          </a:p>
        </p:txBody>
      </p:sp>
    </p:spTree>
    <p:extLst>
      <p:ext uri="{BB962C8B-B14F-4D97-AF65-F5344CB8AC3E}">
        <p14:creationId xmlns:p14="http://schemas.microsoft.com/office/powerpoint/2010/main" val="7776649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ECBB81-1DC6-95C3-31CA-BE835D4054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F28A2806-AF3E-FFDD-A98B-55BD7CBA52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BDBD22-35C0-6CB4-38FC-EBC94DEBBF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928" y="2078182"/>
            <a:ext cx="7471064" cy="1257300"/>
          </a:xfrm>
        </p:spPr>
        <p:txBody>
          <a:bodyPr/>
          <a:lstStyle/>
          <a:p>
            <a:r>
              <a:rPr lang="en-US" dirty="0"/>
              <a:t>WCS Transportation / Logistics</a:t>
            </a:r>
          </a:p>
        </p:txBody>
      </p:sp>
    </p:spTree>
    <p:extLst>
      <p:ext uri="{BB962C8B-B14F-4D97-AF65-F5344CB8AC3E}">
        <p14:creationId xmlns:p14="http://schemas.microsoft.com/office/powerpoint/2010/main" val="3151468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dirty="0">
              <a:latin typeface="Avenir"/>
              <a:ea typeface="+mj-ea"/>
              <a:cs typeface="+mj-cs"/>
              <a:sym typeface="Avenir Roman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485A87-448C-D247-82FD-FED0E6AE5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030" y="50334"/>
            <a:ext cx="8474319" cy="510330"/>
          </a:xfrm>
        </p:spPr>
        <p:txBody>
          <a:bodyPr/>
          <a:lstStyle/>
          <a:p>
            <a:r>
              <a:rPr lang="en-US" dirty="0"/>
              <a:t>Transportation Cask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2030" y="834821"/>
            <a:ext cx="5125330" cy="2420443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dirty="0">
                <a:latin typeface="+mj-lt"/>
                <a:cs typeface="Times New Roman" panose="02020603050405020304" pitchFamily="18" charset="0"/>
              </a:rPr>
              <a:t>The most modern and state-of-the-art casks in service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Provides protection of the public and the environment in the event of the most severe accident scenarios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Regulated by the Nuclear Regulatory Commission and the Department of Transportation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WCS-160 Type B casks – 3 units</a:t>
            </a:r>
          </a:p>
          <a:p>
            <a:r>
              <a:rPr lang="en-US" dirty="0">
                <a:latin typeface="+mj-lt"/>
                <a:cs typeface="Times New Roman" panose="02020603050405020304" pitchFamily="18" charset="0"/>
              </a:rPr>
              <a:t>WCS-215 Type A casks – 3 units (plus leases as needed)</a:t>
            </a:r>
          </a:p>
        </p:txBody>
      </p:sp>
      <p:pic>
        <p:nvPicPr>
          <p:cNvPr id="7" name="Picture 3" descr="U:\RBALTZER\Waste Control\Special Projects\Casks\Robatel\Pictures - New RT-100 Model\RT-100 Maiden Journey 1.jpg">
            <a:extLst>
              <a:ext uri="{FF2B5EF4-FFF2-40B4-BE49-F238E27FC236}">
                <a16:creationId xmlns:a16="http://schemas.microsoft.com/office/drawing/2014/main" id="{BF81DA63-3185-8543-97AD-E83F340F34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68"/>
          <a:stretch/>
        </p:blipFill>
        <p:spPr bwMode="auto">
          <a:xfrm>
            <a:off x="1055139" y="3423499"/>
            <a:ext cx="7033722" cy="2890148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A large room&#10;&#10;Description automatically generated">
            <a:extLst>
              <a:ext uri="{FF2B5EF4-FFF2-40B4-BE49-F238E27FC236}">
                <a16:creationId xmlns:a16="http://schemas.microsoft.com/office/drawing/2014/main" id="{F2D3FCB4-CD9E-F94D-8DA2-65D6721349B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7920" y="834821"/>
            <a:ext cx="2678430" cy="231452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D5F8BD1-6E8F-1C47-85F4-7814E1AD452C}"/>
              </a:ext>
            </a:extLst>
          </p:cNvPr>
          <p:cNvSpPr txBox="1"/>
          <p:nvPr/>
        </p:nvSpPr>
        <p:spPr>
          <a:xfrm>
            <a:off x="3681371" y="6067426"/>
            <a:ext cx="1635384" cy="246221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dirty="0"/>
              <a:t>WCS-160 Type B Cask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42C815-0B3F-DE45-8A2D-270115AEA98D}"/>
              </a:ext>
            </a:extLst>
          </p:cNvPr>
          <p:cNvSpPr txBox="1"/>
          <p:nvPr/>
        </p:nvSpPr>
        <p:spPr>
          <a:xfrm>
            <a:off x="6739443" y="2917089"/>
            <a:ext cx="1635384" cy="246221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dirty="0"/>
              <a:t>WCS-215 Type A Cask</a:t>
            </a:r>
          </a:p>
        </p:txBody>
      </p:sp>
    </p:spTree>
    <p:extLst>
      <p:ext uri="{BB962C8B-B14F-4D97-AF65-F5344CB8AC3E}">
        <p14:creationId xmlns:p14="http://schemas.microsoft.com/office/powerpoint/2010/main" val="9427332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3B2948-FDFC-7C4C-BD11-9F8785F75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ysClr val="windowText" lastClr="000000"/>
                </a:solidFill>
              </a:rPr>
              <a:t>Cask Receipt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3A9792-DD0C-21FB-4AE3-4EF794143D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7205" y="949562"/>
            <a:ext cx="8069589" cy="5189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0961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5E68F-F03F-2C5F-B304-BC8EDBA2F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loading a Liner from a Transportation Cask</a:t>
            </a:r>
          </a:p>
        </p:txBody>
      </p:sp>
      <p:pic>
        <p:nvPicPr>
          <p:cNvPr id="5" name="Picture 4" descr="A truck with a crane lifting a cylinder&#10;&#10;Description automatically generated">
            <a:extLst>
              <a:ext uri="{FF2B5EF4-FFF2-40B4-BE49-F238E27FC236}">
                <a16:creationId xmlns:a16="http://schemas.microsoft.com/office/drawing/2014/main" id="{342856EB-9A1A-B97F-05F4-4F8D8E3B635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2378" y="2076993"/>
            <a:ext cx="2706130" cy="4192357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 descr="A crane lifting a large container&#10;&#10;Description automatically generated">
            <a:extLst>
              <a:ext uri="{FF2B5EF4-FFF2-40B4-BE49-F238E27FC236}">
                <a16:creationId xmlns:a16="http://schemas.microsoft.com/office/drawing/2014/main" id="{CECD8EEF-0023-56A7-528F-4A27DF964FF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3312" y="2076993"/>
            <a:ext cx="2829345" cy="419235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 descr="A truck carrying a large blue cylinder&#10;&#10;Description automatically generated">
            <a:extLst>
              <a:ext uri="{FF2B5EF4-FFF2-40B4-BE49-F238E27FC236}">
                <a16:creationId xmlns:a16="http://schemas.microsoft.com/office/drawing/2014/main" id="{FF9BEC3B-2AC9-AF09-E5AB-2491C1B8B8F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76650" y="2076993"/>
            <a:ext cx="2403567" cy="419235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7584705-618C-FCF0-76C2-605EA3F57052}"/>
              </a:ext>
            </a:extLst>
          </p:cNvPr>
          <p:cNvSpPr txBox="1"/>
          <p:nvPr/>
        </p:nvSpPr>
        <p:spPr>
          <a:xfrm>
            <a:off x="420128" y="852614"/>
            <a:ext cx="8266671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  <a:cs typeface="Calibri" panose="020F0502020204030204" pitchFamily="34" charset="0"/>
              </a:rPr>
              <a:t>Liner (blue) is fabricated of steel and is bolted shu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  <a:cs typeface="Calibri" panose="020F0502020204030204" pitchFamily="34" charset="0"/>
              </a:rPr>
              <a:t>Liner is removed from the transportation cask (grey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  <a:cs typeface="Calibri" panose="020F0502020204030204" pitchFamily="34" charset="0"/>
              </a:rPr>
              <a:t>Liner is loaded into a reinforced concrete Modular Concrete Container (MCC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DAAB3E-DEAB-9133-B37C-64E5844CDC9C}"/>
              </a:ext>
            </a:extLst>
          </p:cNvPr>
          <p:cNvSpPr txBox="1"/>
          <p:nvPr/>
        </p:nvSpPr>
        <p:spPr>
          <a:xfrm>
            <a:off x="296882" y="2176075"/>
            <a:ext cx="1482811" cy="307777"/>
          </a:xfrm>
          <a:prstGeom prst="rect">
            <a:avLst/>
          </a:prstGeom>
          <a:solidFill>
            <a:schemeClr val="bg1">
              <a:alpha val="50088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Lift from cas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AB2B52-2FC6-45E0-C6AF-6F466D5D4320}"/>
              </a:ext>
            </a:extLst>
          </p:cNvPr>
          <p:cNvSpPr txBox="1"/>
          <p:nvPr/>
        </p:nvSpPr>
        <p:spPr>
          <a:xfrm>
            <a:off x="3394753" y="2176075"/>
            <a:ext cx="994367" cy="307777"/>
          </a:xfrm>
          <a:prstGeom prst="rect">
            <a:avLst/>
          </a:prstGeom>
          <a:solidFill>
            <a:schemeClr val="bg1">
              <a:alpha val="50088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Transf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5368B0E-DA46-3AFA-03E1-EF68E6DD20EC}"/>
              </a:ext>
            </a:extLst>
          </p:cNvPr>
          <p:cNvSpPr txBox="1"/>
          <p:nvPr/>
        </p:nvSpPr>
        <p:spPr>
          <a:xfrm>
            <a:off x="6719454" y="2176075"/>
            <a:ext cx="1640775" cy="307777"/>
          </a:xfrm>
          <a:prstGeom prst="rect">
            <a:avLst/>
          </a:prstGeom>
          <a:solidFill>
            <a:schemeClr val="bg1">
              <a:alpha val="50088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Lower into MCC</a:t>
            </a:r>
          </a:p>
        </p:txBody>
      </p:sp>
    </p:spTree>
    <p:extLst>
      <p:ext uri="{BB962C8B-B14F-4D97-AF65-F5344CB8AC3E}">
        <p14:creationId xmlns:p14="http://schemas.microsoft.com/office/powerpoint/2010/main" val="23781370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83E626-92E3-5C92-C9AF-8EAD6CFDF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fer MCC to Disposa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0E2240-3DB4-0C0E-7699-2CDE59D1B00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10400" y="6477000"/>
            <a:ext cx="2133600" cy="320675"/>
          </a:xfrm>
        </p:spPr>
        <p:txBody>
          <a:bodyPr/>
          <a:lstStyle/>
          <a:p>
            <a:fld id="{2830A194-8F98-4ED7-87E6-BFA2E14CF0A2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4" name="Picture 3" descr="A red forklift with a crane&#10;&#10;Description automatically generated">
            <a:extLst>
              <a:ext uri="{FF2B5EF4-FFF2-40B4-BE49-F238E27FC236}">
                <a16:creationId xmlns:a16="http://schemas.microsoft.com/office/drawing/2014/main" id="{7A1875F2-46E8-5E91-CA0D-359F245BE9C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2368" y="894271"/>
            <a:ext cx="8359264" cy="531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8492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524" y="75734"/>
            <a:ext cx="8505825" cy="510330"/>
          </a:xfrm>
        </p:spPr>
        <p:txBody>
          <a:bodyPr/>
          <a:lstStyle/>
          <a:p>
            <a:r>
              <a:rPr lang="en-US" dirty="0"/>
              <a:t>Irradiated Hardware Cask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90525" y="876300"/>
            <a:ext cx="8362950" cy="1661836"/>
          </a:xfrm>
          <a:ln>
            <a:noFill/>
          </a:ln>
        </p:spPr>
        <p:txBody>
          <a:bodyPr>
            <a:normAutofit fontScale="92500" lnSpcReduction="10000"/>
          </a:bodyPr>
          <a:lstStyle/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WCS offloads TN-RAM, MP-197, 3-60B, WCS-160B</a:t>
            </a:r>
          </a:p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WCS routinely disposes of IH with dose rates &gt;20,000 R/hr. on contact </a:t>
            </a:r>
          </a:p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Collective team dose is typically less than 0.02 person-rem</a:t>
            </a:r>
          </a:p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State-of-the-Art transfer system with complete remote handling</a:t>
            </a:r>
          </a:p>
          <a:p>
            <a:pPr>
              <a:spcAft>
                <a:spcPct val="25000"/>
              </a:spcAft>
              <a:buFontTx/>
              <a:buChar char="•"/>
            </a:pPr>
            <a:r>
              <a:rPr lang="en-US" sz="1800" dirty="0"/>
              <a:t>IH casks are routinely offloaded, reassembled and shipped back the same day</a:t>
            </a:r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553200" y="6400800"/>
            <a:ext cx="2133600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830A194-8F98-4ED7-87E6-BFA2E14CF0A2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6" name="Content Placeholder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5887" y="2538136"/>
            <a:ext cx="6977964" cy="3695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7165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way Transportation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27041" y="975144"/>
            <a:ext cx="4144959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+mj-lt"/>
              </a:rPr>
              <a:t>2024 Highway Volum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750 shipmen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4,000 contain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600,000 cubic feet (25% of volum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>
              <a:latin typeface="+mj-lt"/>
            </a:endParaRPr>
          </a:p>
          <a:p>
            <a:endParaRPr lang="en-US" sz="1800" dirty="0">
              <a:latin typeface="+mj-lt"/>
            </a:endParaRPr>
          </a:p>
        </p:txBody>
      </p:sp>
      <p:pic>
        <p:nvPicPr>
          <p:cNvPr id="5" name="Picture 4" descr="A group of trucks parked in a parking lot&#10;&#10;Description automatically generated">
            <a:extLst>
              <a:ext uri="{FF2B5EF4-FFF2-40B4-BE49-F238E27FC236}">
                <a16:creationId xmlns:a16="http://schemas.microsoft.com/office/drawing/2014/main" id="{AB806271-B0A5-B076-1FAA-EF08A8688F7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31" b="19421"/>
          <a:stretch/>
        </p:blipFill>
        <p:spPr>
          <a:xfrm>
            <a:off x="441375" y="2371727"/>
            <a:ext cx="8289263" cy="3596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8436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0296423-BC8B-394C-A42B-372AD79BE26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6396" y="966404"/>
            <a:ext cx="4503744" cy="4511745"/>
          </a:xfr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06D038-D565-0A45-9F96-32435F3CD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664" y="50334"/>
            <a:ext cx="8510685" cy="510330"/>
          </a:xfrm>
        </p:spPr>
        <p:txBody>
          <a:bodyPr/>
          <a:lstStyle/>
          <a:p>
            <a:r>
              <a:rPr lang="en-US" dirty="0"/>
              <a:t>Rail Access</a:t>
            </a:r>
          </a:p>
        </p:txBody>
      </p:sp>
      <p:sp>
        <p:nvSpPr>
          <p:cNvPr id="9" name="Shape 208">
            <a:extLst>
              <a:ext uri="{FF2B5EF4-FFF2-40B4-BE49-F238E27FC236}">
                <a16:creationId xmlns:a16="http://schemas.microsoft.com/office/drawing/2014/main" id="{D9453368-39CB-EF44-BB05-039472B8184C}"/>
              </a:ext>
            </a:extLst>
          </p:cNvPr>
          <p:cNvSpPr txBox="1">
            <a:spLocks/>
          </p:cNvSpPr>
          <p:nvPr/>
        </p:nvSpPr>
        <p:spPr>
          <a:xfrm>
            <a:off x="385665" y="966404"/>
            <a:ext cx="3686273" cy="518781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2800"/>
            </a:pPr>
            <a:r>
              <a:rPr lang="en-US" sz="1600" u="sng" dirty="0">
                <a:latin typeface="+mn-lt"/>
              </a:rPr>
              <a:t>Direct Rail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n-lt"/>
              </a:rPr>
              <a:t>Texas and New Mexico Railway </a:t>
            </a:r>
            <a:r>
              <a:rPr lang="en-US" sz="1600" dirty="0">
                <a:solidFill>
                  <a:srgbClr val="FCA525"/>
                </a:solidFill>
                <a:latin typeface="+mn-lt"/>
              </a:rPr>
              <a:t>(TXN) </a:t>
            </a:r>
            <a:r>
              <a:rPr lang="en-US" sz="1600" dirty="0">
                <a:latin typeface="+mn-lt"/>
              </a:rPr>
              <a:t>interchange to Union Pacific </a:t>
            </a:r>
            <a:r>
              <a:rPr lang="en-US" sz="1600" dirty="0">
                <a:solidFill>
                  <a:srgbClr val="00B0F0"/>
                </a:solidFill>
                <a:latin typeface="+mn-lt"/>
              </a:rPr>
              <a:t>(UP) </a:t>
            </a:r>
            <a:r>
              <a:rPr lang="en-US" sz="1600" dirty="0">
                <a:latin typeface="+mn-lt"/>
              </a:rPr>
              <a:t>at </a:t>
            </a:r>
            <a:r>
              <a:rPr lang="en-US" sz="1600" dirty="0" err="1">
                <a:latin typeface="+mn-lt"/>
              </a:rPr>
              <a:t>Monahans</a:t>
            </a:r>
            <a:endParaRPr lang="en-US" sz="1600" u="sng" dirty="0">
              <a:latin typeface="+mn-lt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None/>
              <a:defRPr sz="2800"/>
            </a:pPr>
            <a:r>
              <a:rPr lang="en-US" sz="1600" u="sng" dirty="0">
                <a:latin typeface="+mn-lt"/>
              </a:rPr>
              <a:t>Transload to Truck: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n-lt"/>
              </a:rPr>
              <a:t>Lubbock and Western Railway </a:t>
            </a:r>
            <a:r>
              <a:rPr lang="en-US" sz="1600" dirty="0">
                <a:solidFill>
                  <a:srgbClr val="FF0000"/>
                </a:solidFill>
                <a:latin typeface="+mn-lt"/>
              </a:rPr>
              <a:t>(LBWR)</a:t>
            </a:r>
            <a:r>
              <a:rPr lang="en-US" sz="1600" dirty="0">
                <a:latin typeface="+mn-lt"/>
              </a:rPr>
              <a:t> interchange to BNSF at Lubbock and transload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endParaRPr lang="en-US" sz="1600" dirty="0">
              <a:latin typeface="+mn-lt"/>
            </a:endParaRPr>
          </a:p>
          <a:p>
            <a:pPr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n-lt"/>
              </a:rPr>
              <a:t>WCS has the infrastructure to support transportation of heavy loads</a:t>
            </a:r>
          </a:p>
          <a:p>
            <a:pPr>
              <a:spcBef>
                <a:spcPts val="0"/>
              </a:spcBef>
              <a:spcAft>
                <a:spcPts val="900"/>
              </a:spcAft>
              <a:defRPr sz="2800"/>
            </a:pPr>
            <a:r>
              <a:rPr lang="en-US" sz="1600" dirty="0">
                <a:latin typeface="+mn-lt"/>
              </a:rPr>
              <a:t>Rail lines upgraded to support shipments over 450,000 </a:t>
            </a:r>
            <a:r>
              <a:rPr lang="en-US" sz="1600" dirty="0" err="1">
                <a:latin typeface="+mn-lt"/>
              </a:rPr>
              <a:t>lbs</a:t>
            </a:r>
            <a:endParaRPr lang="en-US" sz="1600" dirty="0">
              <a:latin typeface="+mn-lt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defRPr sz="2800"/>
            </a:pPr>
            <a:endParaRPr lang="en-US" sz="1600" dirty="0">
              <a:latin typeface="+mn-lt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8E9FD0-29A0-06B1-1E16-A25923EC7F66}"/>
              </a:ext>
            </a:extLst>
          </p:cNvPr>
          <p:cNvGrpSpPr/>
          <p:nvPr/>
        </p:nvGrpSpPr>
        <p:grpSpPr>
          <a:xfrm>
            <a:off x="5897340" y="2626202"/>
            <a:ext cx="660928" cy="300082"/>
            <a:chOff x="6482137" y="2296703"/>
            <a:chExt cx="660928" cy="300082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9D1BC00-FCEA-5D4F-8B3E-B0E6EE9C1C07}"/>
                </a:ext>
              </a:extLst>
            </p:cNvPr>
            <p:cNvSpPr txBox="1"/>
            <p:nvPr/>
          </p:nvSpPr>
          <p:spPr>
            <a:xfrm>
              <a:off x="6633246" y="2296703"/>
              <a:ext cx="509819" cy="3000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350" dirty="0"/>
                <a:t>WCS</a:t>
              </a:r>
            </a:p>
          </p:txBody>
        </p:sp>
        <p:sp>
          <p:nvSpPr>
            <p:cNvPr id="6" name="Triangle 5">
              <a:extLst>
                <a:ext uri="{FF2B5EF4-FFF2-40B4-BE49-F238E27FC236}">
                  <a16:creationId xmlns:a16="http://schemas.microsoft.com/office/drawing/2014/main" id="{E87BF704-1800-1340-B1CE-04E9B845123A}"/>
                </a:ext>
              </a:extLst>
            </p:cNvPr>
            <p:cNvSpPr/>
            <p:nvPr/>
          </p:nvSpPr>
          <p:spPr>
            <a:xfrm>
              <a:off x="6482137" y="2354821"/>
              <a:ext cx="197603" cy="162733"/>
            </a:xfrm>
            <a:prstGeom prst="triangl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254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570450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CB705F-A05E-9D50-F122-F8AF712E2B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DC4A6CD-50CE-DE0B-70A7-86776A6E01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il Transport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2A2161-2231-E965-16ED-6E987FD091A2}"/>
              </a:ext>
            </a:extLst>
          </p:cNvPr>
          <p:cNvSpPr txBox="1"/>
          <p:nvPr/>
        </p:nvSpPr>
        <p:spPr>
          <a:xfrm>
            <a:off x="312738" y="1103736"/>
            <a:ext cx="4363434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+mj-lt"/>
              </a:rPr>
              <a:t>WCS has has the only rail line in Andrews County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Operates 3 locomotive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4-mile rail loop encircles the licensed site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5 miles of owned rail line from site to Eunice, NM 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Served by two Class 1 railroads (UP and BNSF)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 dirty="0">
              <a:latin typeface="+mj-lt"/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latin typeface="+mj-lt"/>
              </a:rPr>
              <a:t>2024 Rail Volume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600 shipment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5,000 container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3,000,000 cubic feet (75% of volume)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 dirty="0"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F2C817F-53E5-9400-D211-8D58CC261A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082" b="18065"/>
          <a:stretch/>
        </p:blipFill>
        <p:spPr>
          <a:xfrm>
            <a:off x="4891682" y="820516"/>
            <a:ext cx="3571415" cy="2100943"/>
          </a:xfrm>
          <a:prstGeom prst="rect">
            <a:avLst/>
          </a:prstGeom>
        </p:spPr>
      </p:pic>
      <p:pic>
        <p:nvPicPr>
          <p:cNvPr id="4" name="Picture 3" descr="A truck is parked on the side of a building&#10;&#10;Description automatically generated">
            <a:extLst>
              <a:ext uri="{FF2B5EF4-FFF2-40B4-BE49-F238E27FC236}">
                <a16:creationId xmlns:a16="http://schemas.microsoft.com/office/drawing/2014/main" id="{12728821-088B-5D69-C9A3-93229CFFA44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76442" y="3047599"/>
            <a:ext cx="2401893" cy="32168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02435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94F818-06DB-8447-82EB-BA084FE19E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We D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793E56-8156-3448-B453-1A205D455E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175" y="834821"/>
            <a:ext cx="6169025" cy="3217729"/>
          </a:xfrm>
          <a:ln>
            <a:noFill/>
          </a:ln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1800" dirty="0"/>
              <a:t>Treatment of Hazardous and Mixed Waste</a:t>
            </a:r>
          </a:p>
          <a:p>
            <a:pPr>
              <a:spcAft>
                <a:spcPts val="1200"/>
              </a:spcAft>
            </a:pPr>
            <a:r>
              <a:rPr lang="en-US" sz="1800" dirty="0"/>
              <a:t>Logistics by Rail and Truck</a:t>
            </a:r>
          </a:p>
          <a:p>
            <a:r>
              <a:rPr lang="en-US" sz="1800" dirty="0"/>
              <a:t>On-site field services</a:t>
            </a:r>
          </a:p>
          <a:p>
            <a:pPr lvl="1"/>
            <a:r>
              <a:rPr lang="en-US" dirty="0"/>
              <a:t>Characterization / Waste Planning</a:t>
            </a:r>
          </a:p>
          <a:p>
            <a:pPr lvl="1">
              <a:spcAft>
                <a:spcPts val="1200"/>
              </a:spcAft>
            </a:pPr>
            <a:r>
              <a:rPr lang="en-US" dirty="0"/>
              <a:t>Packaging / Shipping</a:t>
            </a:r>
          </a:p>
          <a:p>
            <a:r>
              <a:rPr lang="en-US" sz="1800" dirty="0"/>
              <a:t>Safe Disposal of Low-Level Radioactive Waste (LLRW)</a:t>
            </a:r>
          </a:p>
          <a:p>
            <a:pPr lvl="1"/>
            <a:r>
              <a:rPr lang="en-US" dirty="0">
                <a:latin typeface="+mn-lt"/>
              </a:rPr>
              <a:t>Class A/B/C LLRW and Mixed LLRW</a:t>
            </a:r>
          </a:p>
          <a:p>
            <a:pPr lvl="1"/>
            <a:r>
              <a:rPr lang="en-US" dirty="0">
                <a:latin typeface="+mn-lt"/>
              </a:rPr>
              <a:t>NORM, Oil &amp; Gas NORM, and Byproduct material</a:t>
            </a:r>
          </a:p>
          <a:p>
            <a:endParaRPr lang="en-US" dirty="0"/>
          </a:p>
          <a:p>
            <a:endParaRPr lang="en-US" dirty="0">
              <a:latin typeface="+mn-lt"/>
            </a:endParaRPr>
          </a:p>
          <a:p>
            <a:endParaRPr lang="en-US" dirty="0"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19EF0D-F7C5-2D4E-B90F-69208AB69CE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915" y="4030158"/>
            <a:ext cx="3617108" cy="22603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FB7C9F2-26A9-5346-8FD9-53166F865BA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4143056"/>
            <a:ext cx="3515165" cy="209991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 descr="A group of people in white suits&#10;&#10;Description automatically generated">
            <a:extLst>
              <a:ext uri="{FF2B5EF4-FFF2-40B4-BE49-F238E27FC236}">
                <a16:creationId xmlns:a16="http://schemas.microsoft.com/office/drawing/2014/main" id="{5B1B0E70-2CAD-9E87-72DB-3878BE280E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8500" y="834821"/>
            <a:ext cx="2808469" cy="3217729"/>
          </a:xfrm>
          <a:prstGeom prst="rect">
            <a:avLst/>
          </a:prstGeom>
          <a:noFill/>
          <a:ln>
            <a:solidFill>
              <a:srgbClr val="23639B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136091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A323D0-4B7B-F255-0E0D-437687ADA9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928" y="2078182"/>
            <a:ext cx="7471064" cy="1257300"/>
          </a:xfrm>
        </p:spPr>
        <p:txBody>
          <a:bodyPr/>
          <a:lstStyle/>
          <a:p>
            <a:r>
              <a:rPr lang="en-US" dirty="0"/>
              <a:t>WCS Waste Treatment/Processing</a:t>
            </a:r>
            <a:br>
              <a:rPr lang="en-US" dirty="0"/>
            </a:br>
            <a:r>
              <a:rPr lang="en-US" sz="2400" dirty="0"/>
              <a:t>LLRW, Mixed Waste, and Hazardous Waste </a:t>
            </a:r>
            <a:endParaRPr lang="en-US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C5902550-938B-F314-EC70-12D352C2C0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31620" y="3854011"/>
            <a:ext cx="6080760" cy="2026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BC735-4CC0-C746-8782-24CAF28D3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770" y="81156"/>
            <a:ext cx="8493579" cy="510330"/>
          </a:xfrm>
        </p:spPr>
        <p:txBody>
          <a:bodyPr/>
          <a:lstStyle/>
          <a:p>
            <a:r>
              <a:rPr lang="en-US" dirty="0"/>
              <a:t>Waste Stora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33BB32-0B6E-A145-B1E2-3A02C4E925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2771" y="1254500"/>
            <a:ext cx="5515429" cy="4642757"/>
          </a:xfrm>
          <a:ln>
            <a:solidFill>
              <a:srgbClr val="23639B"/>
            </a:solidFill>
          </a:ln>
        </p:spPr>
        <p:txBody>
          <a:bodyPr/>
          <a:lstStyle/>
          <a:p>
            <a:pPr marL="226695" indent="-226695">
              <a:spcAft>
                <a:spcPts val="1200"/>
              </a:spcAft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vered storage (over 60,000 cubic feet):</a:t>
            </a:r>
          </a:p>
          <a:p>
            <a:pPr marL="461645" lvl="1" indent="-226695">
              <a:spcAft>
                <a:spcPts val="1200"/>
              </a:spcAft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tainer Storage Building - 36,750 cubic feet (5,000 - 55-gallon drum equivalents)</a:t>
            </a:r>
          </a:p>
          <a:p>
            <a:pPr marL="461645" lvl="1" indent="-226695">
              <a:spcAft>
                <a:spcPts val="1200"/>
              </a:spcAft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Bin Storage Area </a:t>
            </a: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-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17,118 cubic feet</a:t>
            </a:r>
          </a:p>
          <a:p>
            <a:pPr marL="461645" lvl="1" indent="-226695">
              <a:spcAft>
                <a:spcPts val="1200"/>
              </a:spcAft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Stabilization Building - 8,000 cubic feet</a:t>
            </a:r>
          </a:p>
          <a:p>
            <a:pPr marL="226695" indent="-226695">
              <a:spcAft>
                <a:spcPts val="1200"/>
              </a:spcAft>
            </a:pPr>
            <a:endParaRPr lang="en-US" sz="1800" b="0" i="0" dirty="0">
              <a:effectLst/>
              <a:highlight>
                <a:srgbClr val="FFFFFF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26695" indent="-226695">
              <a:spcAft>
                <a:spcPts val="1200"/>
              </a:spcAft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Outdoor Storage:</a:t>
            </a:r>
          </a:p>
          <a:p>
            <a:pPr marL="461645" lvl="1" indent="-226695">
              <a:spcAft>
                <a:spcPts val="1200"/>
              </a:spcAft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Bin Storage Units (BSU) -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87,480 cubic feet</a:t>
            </a:r>
          </a:p>
          <a:p>
            <a:pPr marL="461645" lvl="1" indent="-226695">
              <a:spcAft>
                <a:spcPts val="1200"/>
              </a:spcAft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LSA Storage Pad – 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1,500,000 cubic feet, 10-acres of area (radioactive only)</a:t>
            </a:r>
          </a:p>
        </p:txBody>
      </p:sp>
      <p:pic>
        <p:nvPicPr>
          <p:cNvPr id="4" name="Picture 3" descr="A large warehouse with large containers&#10;&#10;Description automatically generated with medium confidence">
            <a:extLst>
              <a:ext uri="{FF2B5EF4-FFF2-40B4-BE49-F238E27FC236}">
                <a16:creationId xmlns:a16="http://schemas.microsoft.com/office/drawing/2014/main" id="{AA2B1D99-769C-916C-9C3D-4DAE0111AF4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5846" y="1254500"/>
            <a:ext cx="2900503" cy="4642757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AA4977-0ECD-68FE-2A6E-87D5E10E7A36}"/>
              </a:ext>
            </a:extLst>
          </p:cNvPr>
          <p:cNvSpPr txBox="1">
            <a:spLocks/>
          </p:cNvSpPr>
          <p:nvPr/>
        </p:nvSpPr>
        <p:spPr>
          <a:xfrm>
            <a:off x="5995846" y="920575"/>
            <a:ext cx="2877838" cy="329184"/>
          </a:xfrm>
          <a:prstGeom prst="rect">
            <a:avLst/>
          </a:prstGeom>
          <a:solidFill>
            <a:srgbClr val="23639B"/>
          </a:solidFill>
        </p:spPr>
        <p:txBody>
          <a:bodyPr/>
          <a:lstStyle>
            <a:lvl1pPr marL="227013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80000"/>
              <a:buFont typeface="Arial" pitchFamily="34" charset="0"/>
              <a:buChar char="►"/>
              <a:defRPr sz="1600" baseline="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61963" indent="-23495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80000"/>
              <a:buFont typeface="Arial" pitchFamily="34" charset="0"/>
              <a:buChar char="■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2pPr>
            <a:lvl3pPr marL="687388" indent="-22542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Wingdings" pitchFamily="2" charset="2"/>
              <a:buChar char="t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3pPr>
            <a:lvl4pPr marL="914400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Arial" pitchFamily="34" charset="0"/>
              <a:buChar char="●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4pPr>
            <a:lvl5pPr marL="1141413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ste Storag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A8C8E53-F48D-6534-E9CA-DF482C316FB5}"/>
              </a:ext>
            </a:extLst>
          </p:cNvPr>
          <p:cNvSpPr txBox="1">
            <a:spLocks/>
          </p:cNvSpPr>
          <p:nvPr/>
        </p:nvSpPr>
        <p:spPr>
          <a:xfrm>
            <a:off x="402770" y="920575"/>
            <a:ext cx="5515428" cy="329184"/>
          </a:xfrm>
          <a:prstGeom prst="rect">
            <a:avLst/>
          </a:prstGeom>
          <a:solidFill>
            <a:srgbClr val="23639B"/>
          </a:solidFill>
        </p:spPr>
        <p:txBody>
          <a:bodyPr/>
          <a:lstStyle>
            <a:lvl1pPr marL="227013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80000"/>
              <a:buFont typeface="Arial" pitchFamily="34" charset="0"/>
              <a:buChar char="►"/>
              <a:defRPr sz="1600" baseline="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61963" indent="-23495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80000"/>
              <a:buFont typeface="Arial" pitchFamily="34" charset="0"/>
              <a:buChar char="■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2pPr>
            <a:lvl3pPr marL="687388" indent="-22542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Wingdings" pitchFamily="2" charset="2"/>
              <a:buChar char="t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3pPr>
            <a:lvl4pPr marL="914400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Arial" pitchFamily="34" charset="0"/>
              <a:buChar char="●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4pPr>
            <a:lvl5pPr marL="1141413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CRA/TSCA, Radioactive, and Mixed Waste</a:t>
            </a:r>
          </a:p>
        </p:txBody>
      </p:sp>
    </p:spTree>
    <p:extLst>
      <p:ext uri="{BB962C8B-B14F-4D97-AF65-F5344CB8AC3E}">
        <p14:creationId xmlns:p14="http://schemas.microsoft.com/office/powerpoint/2010/main" val="9748495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BC735-4CC0-C746-8782-24CAF28D3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88434"/>
            <a:ext cx="8439150" cy="51033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latin typeface="+mj-lt"/>
              </a:rPr>
              <a:t>Waste Treatment – Waste Typ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33BB32-0B6E-A145-B1E2-3A02C4E925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6570" y="1182847"/>
            <a:ext cx="4458329" cy="4863601"/>
          </a:xfrm>
        </p:spPr>
        <p:txBody>
          <a:bodyPr wrap="square" anchor="t"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800" b="1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Liquids, sludges, solids, lab packs 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in approved containers, and liquids in bulk tankers</a:t>
            </a:r>
          </a:p>
          <a:p>
            <a:pPr>
              <a:buFont typeface="Wingdings" pitchFamily="2" charset="2"/>
              <a:buChar char="§"/>
            </a:pPr>
            <a:r>
              <a:rPr lang="en-US" sz="1800" b="1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Inorganic waste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 streams including acids, bases, and wastes contaminated with metals</a:t>
            </a: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US" sz="1800" b="0" i="0" dirty="0">
              <a:effectLst/>
              <a:highlight>
                <a:srgbClr val="FFFFFF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itchFamily="2" charset="2"/>
              <a:buChar char="§"/>
            </a:pPr>
            <a:r>
              <a:rPr lang="en-US" sz="1800" b="1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Organic waste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 streams (with some concentration limitations)</a:t>
            </a:r>
          </a:p>
          <a:p>
            <a:pPr>
              <a:buFont typeface="Wingdings" pitchFamily="2" charset="2"/>
              <a:buChar char="§"/>
            </a:pPr>
            <a:r>
              <a:rPr lang="en-US" sz="1800" b="1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High VOCs</a:t>
            </a: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 can be treated on a case-by-case basis</a:t>
            </a:r>
          </a:p>
          <a:p>
            <a:pPr>
              <a:buFont typeface="Wingdings" pitchFamily="2" charset="2"/>
              <a:buChar char="§"/>
            </a:pPr>
            <a:r>
              <a:rPr lang="en-US" sz="1800" b="1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Water-reactive inorganic materials 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such as elemental lithium, sodium, etc.</a:t>
            </a:r>
          </a:p>
          <a:p>
            <a:pPr>
              <a:buFont typeface="Wingdings" pitchFamily="2" charset="2"/>
              <a:buChar char="§"/>
            </a:pPr>
            <a:r>
              <a:rPr lang="en-US" sz="1800" b="1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Hazardous and non-hazardous wastes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 mixed with </a:t>
            </a: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LLRW</a:t>
            </a:r>
            <a:endParaRPr lang="en-US" sz="1800" b="0" i="0" dirty="0">
              <a:effectLst/>
              <a:highlight>
                <a:srgbClr val="FFFFFF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12445" lvl="1" indent="-285750">
              <a:buFont typeface="Wingdings" pitchFamily="2" charset="2"/>
              <a:buChar char="§"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 descr="A group of white barrels stacked on pallets&#10;&#10;Description automatically generated">
            <a:extLst>
              <a:ext uri="{FF2B5EF4-FFF2-40B4-BE49-F238E27FC236}">
                <a16:creationId xmlns:a16="http://schemas.microsoft.com/office/drawing/2014/main" id="{EF5E57C5-3910-18A3-E761-E3F1E31550D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"/>
          <a:stretch/>
        </p:blipFill>
        <p:spPr>
          <a:xfrm>
            <a:off x="5232399" y="1182847"/>
            <a:ext cx="3641913" cy="4863601"/>
          </a:xfrm>
          <a:prstGeom prst="rect">
            <a:avLst/>
          </a:prstGeom>
          <a:noFill/>
          <a:ln>
            <a:solidFill>
              <a:srgbClr val="23639B"/>
            </a:solidFill>
          </a:ln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F5A6BA4-04E2-D024-63F6-926578107D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570" y="855677"/>
            <a:ext cx="4458329" cy="329184"/>
          </a:xfrm>
        </p:spPr>
        <p:txBody>
          <a:bodyPr/>
          <a:lstStyle/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uthorized Types of Wast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77F2B9E2-14C3-C754-DFCC-F71533341B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1770" y="857075"/>
            <a:ext cx="3641914" cy="329184"/>
          </a:xfrm>
        </p:spPr>
        <p:txBody>
          <a:bodyPr/>
          <a:lstStyle/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Container Storage Building</a:t>
            </a:r>
          </a:p>
        </p:txBody>
      </p:sp>
    </p:spTree>
    <p:extLst>
      <p:ext uri="{BB962C8B-B14F-4D97-AF65-F5344CB8AC3E}">
        <p14:creationId xmlns:p14="http://schemas.microsoft.com/office/powerpoint/2010/main" val="33839671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BC735-4CC0-C746-8782-24CAF28D3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514" y="81156"/>
            <a:ext cx="8464835" cy="51033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latin typeface="+mj-lt"/>
              </a:rPr>
              <a:t>Waste Treatment – Processes</a:t>
            </a:r>
          </a:p>
        </p:txBody>
      </p:sp>
      <p:pic>
        <p:nvPicPr>
          <p:cNvPr id="4" name="Picture 3" descr="A construction vehicle in a building&#10;&#10;Description automatically generated">
            <a:extLst>
              <a:ext uri="{FF2B5EF4-FFF2-40B4-BE49-F238E27FC236}">
                <a16:creationId xmlns:a16="http://schemas.microsoft.com/office/drawing/2014/main" id="{3AE1784E-2762-6CE0-DE3D-AD7749330AD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431514" y="1184861"/>
            <a:ext cx="3944902" cy="4863601"/>
          </a:xfrm>
          <a:prstGeom prst="rect">
            <a:avLst/>
          </a:prstGeom>
          <a:noFill/>
          <a:ln>
            <a:solidFill>
              <a:srgbClr val="23639B"/>
            </a:solidFill>
          </a:ln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33BB32-0B6E-A145-B1E2-3A02C4E925A0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29309" y="1182847"/>
            <a:ext cx="4245004" cy="4863601"/>
          </a:xfrm>
        </p:spPr>
        <p:txBody>
          <a:bodyPr wrap="square" anchor="t">
            <a:normAutofit/>
          </a:bodyPr>
          <a:lstStyle/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Sorting and Segrega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haracterization (parent and daughter waste streams)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Decontamination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Repackaging</a:t>
            </a:r>
          </a:p>
          <a:p>
            <a:pPr>
              <a:buFont typeface="Wingdings" pitchFamily="2" charset="2"/>
              <a:buChar char="§"/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Volume Reduc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hemical oxida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hemical reduc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Deactiva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Micro- and macro-encapsula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Neutraliza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Stabiliza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Controlled reaction</a:t>
            </a:r>
          </a:p>
          <a:p>
            <a:pPr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Dewatering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CED9E76-1E8A-A86D-094A-071DA67C2E9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885" y="855677"/>
            <a:ext cx="3944902" cy="329184"/>
          </a:xfrm>
        </p:spPr>
        <p:txBody>
          <a:bodyPr/>
          <a:lstStyle/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ulk Pan Treatment</a:t>
            </a:r>
          </a:p>
          <a:p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2676385-2548-C923-BE33-6A5D126933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9939" y="857075"/>
            <a:ext cx="4243745" cy="329184"/>
          </a:xfrm>
        </p:spPr>
        <p:txBody>
          <a:bodyPr/>
          <a:lstStyle/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reatment Processes</a:t>
            </a:r>
          </a:p>
        </p:txBody>
      </p:sp>
    </p:spTree>
    <p:extLst>
      <p:ext uri="{BB962C8B-B14F-4D97-AF65-F5344CB8AC3E}">
        <p14:creationId xmlns:p14="http://schemas.microsoft.com/office/powerpoint/2010/main" val="42847782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9BC735-4CC0-C746-8782-24CAF28D3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788" y="81156"/>
            <a:ext cx="8454561" cy="510330"/>
          </a:xfrm>
        </p:spPr>
        <p:txBody>
          <a:bodyPr wrap="square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latin typeface="+mj-lt"/>
              </a:rPr>
              <a:t>Treatment Facilities – MWTF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33BB32-0B6E-A145-B1E2-3A02C4E925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788" y="1184861"/>
            <a:ext cx="3934628" cy="4863601"/>
          </a:xfrm>
        </p:spPr>
        <p:txBody>
          <a:bodyPr wrap="square" anchor="t">
            <a:normAutofit/>
          </a:bodyPr>
          <a:lstStyle/>
          <a:p>
            <a:pPr marL="295275" lvl="1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Negative pressure, 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processing and treatment facility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95275" lvl="1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20,000 square feet of treatment </a:t>
            </a: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space</a:t>
            </a:r>
            <a:endParaRPr lang="en-US" sz="1800" b="0" i="0" dirty="0">
              <a:effectLst/>
              <a:highlight>
                <a:srgbClr val="FFFFFF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95275" lvl="1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85-cubic-yard capacity mixing pan</a:t>
            </a:r>
          </a:p>
          <a:p>
            <a:pPr marL="295275" lvl="1" indent="-285750"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sz="1800" b="0" i="0" dirty="0">
                <a:effectLst/>
                <a:highlight>
                  <a:srgbClr val="FFFFFF"/>
                </a:highlight>
                <a:latin typeface="Calibri" panose="020F0502020204030204" pitchFamily="34" charset="0"/>
                <a:cs typeface="Calibri" panose="020F0502020204030204" pitchFamily="34" charset="0"/>
              </a:rPr>
              <a:t>solated treatment room with a dedicated ventilation system within the MWTF and double containment (as necessary)</a:t>
            </a:r>
          </a:p>
        </p:txBody>
      </p:sp>
      <p:pic>
        <p:nvPicPr>
          <p:cNvPr id="4" name="Picture 3" descr="A group of people in white suits&#10;&#10;Description automatically generated">
            <a:extLst>
              <a:ext uri="{FF2B5EF4-FFF2-40B4-BE49-F238E27FC236}">
                <a16:creationId xmlns:a16="http://schemas.microsoft.com/office/drawing/2014/main" id="{AC418EC7-2DF3-3C22-CCEE-0226C2F6760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9309" y="1182847"/>
            <a:ext cx="4245004" cy="4863601"/>
          </a:xfrm>
          <a:prstGeom prst="rect">
            <a:avLst/>
          </a:prstGeom>
          <a:noFill/>
          <a:ln>
            <a:solidFill>
              <a:srgbClr val="23639B"/>
            </a:solidFill>
          </a:ln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9D0B784-6456-2BEC-6CE0-1DE6B05E37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1159" y="855677"/>
            <a:ext cx="3934628" cy="329184"/>
          </a:xfrm>
        </p:spPr>
        <p:txBody>
          <a:bodyPr/>
          <a:lstStyle/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Mixed Waste Treatment Facility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0939051-E183-6B69-9998-CBEA67FC7A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9939" y="857075"/>
            <a:ext cx="4243745" cy="329184"/>
          </a:xfrm>
        </p:spPr>
        <p:txBody>
          <a:bodyPr/>
          <a:lstStyle/>
          <a:p>
            <a:r>
              <a:rPr lang="en-US" sz="1800" dirty="0">
                <a:latin typeface="Aptos Display"/>
                <a:cs typeface="Times New Roman"/>
              </a:rPr>
              <a:t>Glove Box processing</a:t>
            </a:r>
            <a:endParaRPr lang="en-US" sz="1800" dirty="0">
              <a:latin typeface="Aptos Display"/>
            </a:endParaRPr>
          </a:p>
        </p:txBody>
      </p:sp>
    </p:spTree>
    <p:extLst>
      <p:ext uri="{BB962C8B-B14F-4D97-AF65-F5344CB8AC3E}">
        <p14:creationId xmlns:p14="http://schemas.microsoft.com/office/powerpoint/2010/main" val="10977281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950F7-6786-194F-80AE-4CCBD0C1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788" y="81156"/>
            <a:ext cx="8454561" cy="510330"/>
          </a:xfrm>
        </p:spPr>
        <p:txBody>
          <a:bodyPr/>
          <a:lstStyle/>
          <a:p>
            <a:r>
              <a:rPr lang="en-US" dirty="0">
                <a:latin typeface="+mj-lt"/>
              </a:rPr>
              <a:t>Treatment Facilities – Perma-C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911DA7-C807-1246-BC1F-A4ED04E145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787" y="1331948"/>
            <a:ext cx="4130211" cy="4493005"/>
          </a:xfrm>
          <a:ln>
            <a:solidFill>
              <a:srgbClr val="23639B"/>
            </a:solidFill>
          </a:ln>
        </p:spPr>
        <p:txBody>
          <a:bodyPr/>
          <a:lstStyle/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In 2023 WCS installed the largest Perma-Con in the U.S.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Supports preparation and shipment of LANL TRU waste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6500 sq. ft. floor space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HVAC/HEPA System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Remotely operated five (5) ton mobile gantry crane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ackup generator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3" name="Picture 12" descr="A large warehouse with a blue door&#10;&#10;Description automatically generated with medium confidence">
            <a:extLst>
              <a:ext uri="{FF2B5EF4-FFF2-40B4-BE49-F238E27FC236}">
                <a16:creationId xmlns:a16="http://schemas.microsoft.com/office/drawing/2014/main" id="{4330CCA4-7889-40CF-B6C4-C14E9B2EBC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5987" y="1017016"/>
            <a:ext cx="3947027" cy="2196084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EEDB105E-5131-4BB2-396C-73C7027FD060}"/>
              </a:ext>
            </a:extLst>
          </p:cNvPr>
          <p:cNvSpPr txBox="1">
            <a:spLocks/>
          </p:cNvSpPr>
          <p:nvPr/>
        </p:nvSpPr>
        <p:spPr>
          <a:xfrm>
            <a:off x="441788" y="1017016"/>
            <a:ext cx="4130210" cy="329184"/>
          </a:xfrm>
          <a:prstGeom prst="rect">
            <a:avLst/>
          </a:prstGeom>
          <a:solidFill>
            <a:srgbClr val="23639B"/>
          </a:solidFill>
        </p:spPr>
        <p:txBody>
          <a:bodyPr/>
          <a:lstStyle>
            <a:lvl1pPr marL="227013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80000"/>
              <a:buFont typeface="Arial" pitchFamily="34" charset="0"/>
              <a:buChar char="►"/>
              <a:defRPr sz="1600" baseline="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61963" indent="-23495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80000"/>
              <a:buFont typeface="Arial" pitchFamily="34" charset="0"/>
              <a:buChar char="■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2pPr>
            <a:lvl3pPr marL="687388" indent="-22542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Wingdings" pitchFamily="2" charset="2"/>
              <a:buChar char="t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3pPr>
            <a:lvl4pPr marL="914400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Arial" pitchFamily="34" charset="0"/>
              <a:buChar char="●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4pPr>
            <a:lvl5pPr marL="1141413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ma-Con</a:t>
            </a:r>
          </a:p>
        </p:txBody>
      </p:sp>
      <p:pic>
        <p:nvPicPr>
          <p:cNvPr id="4" name="Picture 3" descr="A room with many white containers&#10;&#10;Description automatically generated">
            <a:extLst>
              <a:ext uri="{FF2B5EF4-FFF2-40B4-BE49-F238E27FC236}">
                <a16:creationId xmlns:a16="http://schemas.microsoft.com/office/drawing/2014/main" id="{BB6698D2-3320-25D7-3C8A-100AC1DA92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5987" y="3636819"/>
            <a:ext cx="3904147" cy="2196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180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34A76E-39EA-1496-3AA3-D4BA2A9218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12290F-6C58-F446-6180-2E6431869E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788" y="81156"/>
            <a:ext cx="8454561" cy="510330"/>
          </a:xfrm>
        </p:spPr>
        <p:txBody>
          <a:bodyPr/>
          <a:lstStyle/>
          <a:p>
            <a:r>
              <a:rPr lang="en-US" dirty="0">
                <a:latin typeface="+mj-lt"/>
              </a:rPr>
              <a:t>Other Treatment and Storage Capabil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F2C2E0-5985-B84B-DCC2-159C85F1AB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787" y="1354250"/>
            <a:ext cx="3377859" cy="2362525"/>
          </a:xfrm>
          <a:ln>
            <a:solidFill>
              <a:srgbClr val="23639B"/>
            </a:solidFill>
          </a:ln>
        </p:spPr>
        <p:txBody>
          <a:bodyPr/>
          <a:lstStyle/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ulk Vitrification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Currently processing LLRW contaminated reactive metals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Plans in development for further complex and orphaned waste streams</a:t>
            </a: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Aft>
                <a:spcPts val="1200"/>
              </a:spcAft>
              <a:buFont typeface="Wingdings" pitchFamily="2" charset="2"/>
              <a:buChar char="§"/>
            </a:pP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08654DE0-8091-BD72-1E08-1DCAE25E3EE2}"/>
              </a:ext>
            </a:extLst>
          </p:cNvPr>
          <p:cNvSpPr txBox="1">
            <a:spLocks/>
          </p:cNvSpPr>
          <p:nvPr/>
        </p:nvSpPr>
        <p:spPr>
          <a:xfrm>
            <a:off x="441788" y="1017016"/>
            <a:ext cx="3377858" cy="329184"/>
          </a:xfrm>
          <a:prstGeom prst="rect">
            <a:avLst/>
          </a:prstGeom>
          <a:solidFill>
            <a:srgbClr val="23639B"/>
          </a:solidFill>
        </p:spPr>
        <p:txBody>
          <a:bodyPr/>
          <a:lstStyle>
            <a:lvl1pPr marL="227013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80000"/>
              <a:buFont typeface="Arial" pitchFamily="34" charset="0"/>
              <a:buChar char="►"/>
              <a:defRPr sz="1600" baseline="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1pPr>
            <a:lvl2pPr marL="461963" indent="-234950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80000"/>
              <a:buFont typeface="Arial" pitchFamily="34" charset="0"/>
              <a:buChar char="■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2pPr>
            <a:lvl3pPr marL="687388" indent="-22542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Wingdings" pitchFamily="2" charset="2"/>
              <a:buChar char="t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3pPr>
            <a:lvl4pPr marL="914400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Arial" pitchFamily="34" charset="0"/>
              <a:buChar char="●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4pPr>
            <a:lvl5pPr marL="1141413" indent="-2270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3639B"/>
              </a:buClr>
              <a:buSzPct val="75000"/>
              <a:buFont typeface="Arial" pitchFamily="34" charset="0"/>
              <a:buChar char="▪"/>
              <a:defRPr sz="1600" baseline="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ct val="90000"/>
              </a:lnSpc>
              <a:spcBef>
                <a:spcPct val="5000"/>
              </a:spcBef>
              <a:spcAft>
                <a:spcPct val="0"/>
              </a:spcAft>
              <a:buClr>
                <a:srgbClr val="003399"/>
              </a:buClr>
              <a:buSzPct val="75000"/>
              <a:buFont typeface="Arial" charset="0"/>
              <a:buChar char="▪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8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olia </a:t>
            </a:r>
            <a:r>
              <a:rPr lang="en-US" sz="1800" b="1" kern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oMelt</a:t>
            </a:r>
            <a:endParaRPr lang="en-US" sz="1800" b="1" kern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EFEB94-7B09-828E-2364-9B86C97D01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15932" y="1017016"/>
            <a:ext cx="4980417" cy="33169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4549296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950F7-6786-194F-80AE-4CCBD0C1F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788" y="81156"/>
            <a:ext cx="8454561" cy="510330"/>
          </a:xfrm>
        </p:spPr>
        <p:txBody>
          <a:bodyPr/>
          <a:lstStyle/>
          <a:p>
            <a:r>
              <a:rPr lang="en-US" dirty="0">
                <a:latin typeface="+mj-lt"/>
              </a:rPr>
              <a:t>DOE Problematic Waste Examp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911DA7-C807-1246-BC1F-A4ED04E145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176" y="834821"/>
            <a:ext cx="5461732" cy="5437791"/>
          </a:xfrm>
          <a:ln>
            <a:noFill/>
          </a:ln>
        </p:spPr>
        <p:txBody>
          <a:bodyPr/>
          <a:lstStyle/>
          <a:p>
            <a:pPr marL="226695" indent="-226695"/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WCS Services</a:t>
            </a:r>
          </a:p>
          <a:p>
            <a:pPr marL="461645" lvl="1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Receipt and storage of waste </a:t>
            </a:r>
          </a:p>
          <a:p>
            <a:pPr marL="461645" lvl="1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Sorting and Segregation by:</a:t>
            </a:r>
          </a:p>
          <a:p>
            <a:pPr marL="687070" lvl="2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Physical Form</a:t>
            </a:r>
          </a:p>
          <a:p>
            <a:pPr marL="687070" lvl="2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Radiological Character</a:t>
            </a:r>
          </a:p>
          <a:p>
            <a:pPr marL="687070" lvl="2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RCRA and TSCA hazard profiles</a:t>
            </a:r>
          </a:p>
          <a:p>
            <a:pPr marL="226695" indent="-226695"/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Re-Packaged waste for most appropriate </a:t>
            </a:r>
          </a:p>
          <a:p>
            <a:pPr marL="461645" lvl="1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reatment (as required)</a:t>
            </a:r>
          </a:p>
          <a:p>
            <a:pPr marL="461645" lvl="1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Disposal (according to radiological character of daughter waste streams)</a:t>
            </a:r>
          </a:p>
          <a:p>
            <a:pPr marL="226695" indent="-226695"/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Result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</a:p>
          <a:p>
            <a:pPr marL="461645" lvl="1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Quicker removal from generating site</a:t>
            </a:r>
          </a:p>
          <a:p>
            <a:pPr marL="461645" lvl="1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Lower cost</a:t>
            </a:r>
          </a:p>
          <a:p>
            <a:pPr marL="461645" lvl="1"/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Burial according to actual radiological character</a:t>
            </a:r>
          </a:p>
        </p:txBody>
      </p:sp>
      <p:pic>
        <p:nvPicPr>
          <p:cNvPr id="5" name="Picture 4" descr="A picture containing indoor, table, cup, food&#10;&#10;Description automatically generated">
            <a:extLst>
              <a:ext uri="{FF2B5EF4-FFF2-40B4-BE49-F238E27FC236}">
                <a16:creationId xmlns:a16="http://schemas.microsoft.com/office/drawing/2014/main" id="{A5A3D3D5-4F2C-DB4E-A433-01EFDEB1158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21284" y="3344496"/>
            <a:ext cx="3091294" cy="293324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84446F1-72DD-4AAF-C424-5BCA400663CB}"/>
              </a:ext>
            </a:extLst>
          </p:cNvPr>
          <p:cNvSpPr/>
          <p:nvPr/>
        </p:nvSpPr>
        <p:spPr bwMode="auto">
          <a:xfrm>
            <a:off x="5918991" y="833326"/>
            <a:ext cx="3090619" cy="25941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tx1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US" sz="1200" b="1" dirty="0"/>
              <a:t>Waste Profile Included:</a:t>
            </a:r>
            <a:endParaRPr lang="en-US" sz="1200" dirty="0"/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200" dirty="0"/>
              <a:t>Class C debris and non-debris mixed waste requiring RCRA treatment.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200" dirty="0"/>
              <a:t>Potentially included solidified and non-solid sludge, wood, metal, PPE, miscellaneous plastic and cellulosic material, drum bags, plastic bottles (with or without liquid), cardboard, paper, rags, batteries, absorbents, soil/sweepings, </a:t>
            </a:r>
          </a:p>
          <a:p>
            <a:pPr marL="171450" marR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200" dirty="0"/>
              <a:t>Potential PCB contamination</a:t>
            </a:r>
          </a:p>
        </p:txBody>
      </p:sp>
    </p:spTree>
    <p:extLst>
      <p:ext uri="{BB962C8B-B14F-4D97-AF65-F5344CB8AC3E}">
        <p14:creationId xmlns:p14="http://schemas.microsoft.com/office/powerpoint/2010/main" val="28755855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B361AE-AB65-5025-5CAE-C19CC39C62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9DD8F-54A3-02EA-A59A-B2D2C1FC2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100" y="2457974"/>
            <a:ext cx="7450282" cy="510330"/>
          </a:xfrm>
        </p:spPr>
        <p:txBody>
          <a:bodyPr/>
          <a:lstStyle/>
          <a:p>
            <a:r>
              <a:rPr lang="en-US" dirty="0"/>
              <a:t>Depleted Uranium Dispos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682647-0235-8B4C-C29D-E9C1E3CF21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171D9C-CAE3-4B39-BFDD-45CC9752C418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4531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76498E-FE14-FFF6-AFF8-079166FC84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208" y="50334"/>
            <a:ext cx="8678141" cy="510330"/>
          </a:xfrm>
        </p:spPr>
        <p:txBody>
          <a:bodyPr/>
          <a:lstStyle/>
          <a:p>
            <a:r>
              <a:rPr lang="en-US" sz="2400" dirty="0"/>
              <a:t>DOE Depleted Uranium (DU) Cylinders in Stora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9C75BE-C639-25B0-12B8-0CDFC6FC3BA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382000" y="6426200"/>
            <a:ext cx="762000" cy="381000"/>
          </a:xfrm>
        </p:spPr>
        <p:txBody>
          <a:bodyPr/>
          <a:lstStyle/>
          <a:p>
            <a:pPr>
              <a:defRPr/>
            </a:pPr>
            <a:fld id="{E2171D9C-CAE3-4B39-BFDD-45CC9752C418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44F23A3-69C9-2BA5-78D2-997A24E3A2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150" y="872837"/>
            <a:ext cx="8956727" cy="53305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BFB43A86-FAB6-AA83-1B88-0415E05107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8449" y="1039437"/>
            <a:ext cx="351790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4024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ndrews area map">
            <a:extLst>
              <a:ext uri="{FF2B5EF4-FFF2-40B4-BE49-F238E27FC236}">
                <a16:creationId xmlns:a16="http://schemas.microsoft.com/office/drawing/2014/main" id="{F4B506C4-D46A-6885-6EFF-5497E78832C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700" y="760251"/>
            <a:ext cx="8572500" cy="552694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A16AC5B-5E9E-0C5A-A567-80B408BA06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50334"/>
            <a:ext cx="8629650" cy="510330"/>
          </a:xfrm>
        </p:spPr>
        <p:txBody>
          <a:bodyPr/>
          <a:lstStyle/>
          <a:p>
            <a:r>
              <a:rPr lang="en-US" dirty="0"/>
              <a:t>WCS Site – Relative Distance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B57D455-5763-A86E-ED95-8287FAF7B0F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7010400" y="6477000"/>
            <a:ext cx="2133600" cy="320675"/>
          </a:xfrm>
        </p:spPr>
        <p:txBody>
          <a:bodyPr/>
          <a:lstStyle/>
          <a:p>
            <a:fld id="{2830A194-8F98-4ED7-87E6-BFA2E14CF0A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5-Point Star 6">
            <a:extLst>
              <a:ext uri="{FF2B5EF4-FFF2-40B4-BE49-F238E27FC236}">
                <a16:creationId xmlns:a16="http://schemas.microsoft.com/office/drawing/2014/main" id="{5241581A-8362-703E-A8B8-D82156245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592274" y="2448218"/>
            <a:ext cx="182880" cy="182880"/>
          </a:xfrm>
          <a:prstGeom prst="star5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759572E-C5DD-1262-4079-B006C3AC06C3}"/>
              </a:ext>
            </a:extLst>
          </p:cNvPr>
          <p:cNvSpPr txBox="1"/>
          <p:nvPr/>
        </p:nvSpPr>
        <p:spPr>
          <a:xfrm>
            <a:off x="375757" y="946806"/>
            <a:ext cx="2610724" cy="1955856"/>
          </a:xfrm>
          <a:prstGeom prst="rect">
            <a:avLst/>
          </a:prstGeom>
          <a:solidFill>
            <a:schemeClr val="bg1">
              <a:alpha val="82000"/>
            </a:schemeClr>
          </a:solidFill>
          <a:effectLst>
            <a:softEdge rad="76200"/>
          </a:effectLst>
        </p:spPr>
        <p:txBody>
          <a:bodyPr wrap="square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rect distance to communities: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unice, NM	5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bbs, NM	15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Jal, NM	24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rews	30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minole	30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dessa	50 miles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idland	60 mi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EAAA1AF-21E4-3540-98A3-7ABDEF3FDB25}"/>
              </a:ext>
            </a:extLst>
          </p:cNvPr>
          <p:cNvSpPr txBox="1"/>
          <p:nvPr/>
        </p:nvSpPr>
        <p:spPr>
          <a:xfrm>
            <a:off x="3706364" y="2389495"/>
            <a:ext cx="6110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WC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F5ADCFD-2C67-8F4A-F162-8CCF8568CC6E}"/>
              </a:ext>
            </a:extLst>
          </p:cNvPr>
          <p:cNvSpPr txBox="1"/>
          <p:nvPr/>
        </p:nvSpPr>
        <p:spPr>
          <a:xfrm>
            <a:off x="333812" y="3097606"/>
            <a:ext cx="2552001" cy="2956130"/>
          </a:xfrm>
          <a:prstGeom prst="rect">
            <a:avLst/>
          </a:prstGeom>
          <a:solidFill>
            <a:schemeClr val="bg1">
              <a:alpha val="82000"/>
            </a:schemeClr>
          </a:solidFill>
          <a:effectLst>
            <a:softEdge rad="76200"/>
          </a:effectLst>
        </p:spPr>
        <p:txBody>
          <a:bodyPr wrap="square" rtlCol="0">
            <a:spAutoFit/>
          </a:bodyPr>
          <a:lstStyle/>
          <a:p>
            <a:pPr>
              <a:lnSpc>
                <a:spcPct val="125000"/>
              </a:lnSpc>
              <a:tabLst>
                <a:tab pos="225425" algn="l"/>
                <a:tab pos="1595438" algn="dec"/>
              </a:tabLst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arest residence is:</a:t>
            </a:r>
          </a:p>
          <a:p>
            <a:pPr marL="171450" indent="-171450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225425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5 miles east, in NM @ 176 &amp; 18</a:t>
            </a:r>
          </a:p>
          <a:p>
            <a:pPr>
              <a:lnSpc>
                <a:spcPct val="125000"/>
              </a:lnSpc>
              <a:tabLst>
                <a:tab pos="225425" algn="l"/>
                <a:tab pos="1595438" algn="dec"/>
              </a:tabLst>
            </a:pP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25000"/>
              </a:lnSpc>
              <a:tabLst>
                <a:tab pos="225425" algn="l"/>
                <a:tab pos="1595438" algn="dec"/>
              </a:tabLst>
            </a:pP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Nearest businesses are:</a:t>
            </a:r>
          </a:p>
          <a:p>
            <a:pPr marL="115888" indent="-115888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107950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RENCO (uranium facility)	- adjacent to site in NM</a:t>
            </a:r>
          </a:p>
          <a:p>
            <a:pPr marL="115888" indent="-115888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107950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a County Landfill (trash disposal) - across 176 in NM</a:t>
            </a:r>
          </a:p>
          <a:p>
            <a:pPr marL="115888" indent="-115888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107950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B Materials (concrete plant)           - NW site boundary in NM</a:t>
            </a:r>
          </a:p>
          <a:p>
            <a:pPr marL="115888" indent="-115888">
              <a:lnSpc>
                <a:spcPct val="125000"/>
              </a:lnSpc>
              <a:buFont typeface="Arial" panose="020B0604020202020204" pitchFamily="34" charset="0"/>
              <a:buChar char="•"/>
              <a:tabLst>
                <a:tab pos="107950" algn="l"/>
                <a:tab pos="1595438" algn="dec"/>
              </a:tabLst>
            </a:pPr>
            <a:r>
              <a:rPr lang="en-US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ndance Disposal (O&amp;G waste)     - NW site boundary in NM</a:t>
            </a:r>
          </a:p>
        </p:txBody>
      </p:sp>
    </p:spTree>
    <p:extLst>
      <p:ext uri="{BB962C8B-B14F-4D97-AF65-F5344CB8AC3E}">
        <p14:creationId xmlns:p14="http://schemas.microsoft.com/office/powerpoint/2010/main" val="18219602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B94B0-C99B-418E-7657-D1156F1880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OE DUF</a:t>
            </a:r>
            <a:r>
              <a:rPr lang="en-US" sz="2400" baseline="-25000" dirty="0"/>
              <a:t>6</a:t>
            </a:r>
            <a:r>
              <a:rPr lang="en-US" sz="2400" dirty="0"/>
              <a:t> Conversion Plants – Portsmouth and Paducah</a:t>
            </a:r>
          </a:p>
        </p:txBody>
      </p:sp>
      <p:pic>
        <p:nvPicPr>
          <p:cNvPr id="5" name="Content Placeholder 4" descr="Aerial view of a factory&#10;&#10;AI-generated content may be incorrect.">
            <a:extLst>
              <a:ext uri="{FF2B5EF4-FFF2-40B4-BE49-F238E27FC236}">
                <a16:creationId xmlns:a16="http://schemas.microsoft.com/office/drawing/2014/main" id="{6C15C12D-AAB6-4FD1-A0CC-4B5FD71AA8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0175" y="863797"/>
            <a:ext cx="8883650" cy="5205538"/>
          </a:xfrm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AAE459-26EF-A97E-6741-147D1C8F0C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679424"/>
              </p:ext>
            </p:extLst>
          </p:nvPr>
        </p:nvGraphicFramePr>
        <p:xfrm>
          <a:off x="4260273" y="4516544"/>
          <a:ext cx="4753553" cy="155448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808018">
                  <a:extLst>
                    <a:ext uri="{9D8B030D-6E8A-4147-A177-3AD203B41FA5}">
                      <a16:colId xmlns:a16="http://schemas.microsoft.com/office/drawing/2014/main" val="3662262631"/>
                    </a:ext>
                  </a:extLst>
                </a:gridCol>
                <a:gridCol w="867641">
                  <a:extLst>
                    <a:ext uri="{9D8B030D-6E8A-4147-A177-3AD203B41FA5}">
                      <a16:colId xmlns:a16="http://schemas.microsoft.com/office/drawing/2014/main" val="4190667444"/>
                    </a:ext>
                  </a:extLst>
                </a:gridCol>
                <a:gridCol w="867641">
                  <a:extLst>
                    <a:ext uri="{9D8B030D-6E8A-4147-A177-3AD203B41FA5}">
                      <a16:colId xmlns:a16="http://schemas.microsoft.com/office/drawing/2014/main" val="1004553767"/>
                    </a:ext>
                  </a:extLst>
                </a:gridCol>
                <a:gridCol w="705266">
                  <a:extLst>
                    <a:ext uri="{9D8B030D-6E8A-4147-A177-3AD203B41FA5}">
                      <a16:colId xmlns:a16="http://schemas.microsoft.com/office/drawing/2014/main" val="148871195"/>
                    </a:ext>
                  </a:extLst>
                </a:gridCol>
                <a:gridCol w="504987">
                  <a:extLst>
                    <a:ext uri="{9D8B030D-6E8A-4147-A177-3AD203B41FA5}">
                      <a16:colId xmlns:a16="http://schemas.microsoft.com/office/drawing/2014/main" val="3812179569"/>
                    </a:ext>
                  </a:extLst>
                </a:gridCol>
              </a:tblGrid>
              <a:tr h="258645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ril 2025 Statu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  <a:alpha val="7976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duca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7976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rtsmouth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7976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alpha val="79763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5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4299382"/>
                  </a:ext>
                </a:extLst>
              </a:tr>
              <a:tr h="25864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tal DU Cylinder Inventory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5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604664"/>
                  </a:ext>
                </a:extLst>
              </a:tr>
              <a:tr h="25864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UF</a:t>
                      </a:r>
                      <a:r>
                        <a:rPr lang="en-US" sz="1100" baseline="-25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Facility Siz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lin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lin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lines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5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4473942"/>
                  </a:ext>
                </a:extLst>
              </a:tr>
              <a:tr h="25864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UF</a:t>
                      </a:r>
                      <a:r>
                        <a:rPr lang="en-US" sz="1100" baseline="-25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Facility Startup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1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5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3236269"/>
                  </a:ext>
                </a:extLst>
              </a:tr>
              <a:tr h="25864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ersion/year (capacity)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4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69547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747435"/>
                  </a:ext>
                </a:extLst>
              </a:tr>
              <a:tr h="258645"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verted to date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~5,5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~3,5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~9,000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%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6994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952214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971B925-AE2F-CC93-1071-D457146002FA}"/>
              </a:ext>
            </a:extLst>
          </p:cNvPr>
          <p:cNvSpPr txBox="1"/>
          <p:nvPr/>
        </p:nvSpPr>
        <p:spPr>
          <a:xfrm>
            <a:off x="119783" y="852454"/>
            <a:ext cx="4452217" cy="83099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9525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DOE DUF</a:t>
            </a:r>
            <a:r>
              <a:rPr lang="en-US" sz="1200" b="1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acilities Convert DUF</a:t>
            </a:r>
            <a:r>
              <a:rPr lang="en-US" sz="1200" b="1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Tails to stable DUO</a:t>
            </a:r>
            <a:r>
              <a:rPr lang="en-US" sz="1200" b="1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 for disposal</a:t>
            </a:r>
            <a:endParaRPr lang="en-US" sz="1200" b="1" baseline="-25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36538" lvl="1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DUF</a:t>
            </a:r>
            <a:r>
              <a:rPr lang="en-US" sz="12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– depleted uranium hexafluoride (a gas when heated)</a:t>
            </a:r>
          </a:p>
          <a:p>
            <a:pPr marL="236538" lvl="1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Tails – the depleted and discarded portion after enrichment</a:t>
            </a:r>
          </a:p>
          <a:p>
            <a:pPr marL="236538" lvl="1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DUO</a:t>
            </a:r>
            <a:r>
              <a:rPr lang="en-US" sz="12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– depleted uranium oxide (stable for disposal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08DBDC-E0EF-3556-CE1F-1D0CF4D85D47}"/>
              </a:ext>
            </a:extLst>
          </p:cNvPr>
          <p:cNvSpPr txBox="1"/>
          <p:nvPr/>
        </p:nvSpPr>
        <p:spPr>
          <a:xfrm>
            <a:off x="4561609" y="853406"/>
            <a:ext cx="4452217" cy="830997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36538" lvl="1" indent="-227013"/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Uranium Enrichment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(increases fissionable U-235 percentage)</a:t>
            </a:r>
          </a:p>
          <a:p>
            <a:pPr marL="236538" lvl="1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Natural Uranium – 0.7% U-235 (99.3% U-238)</a:t>
            </a:r>
          </a:p>
          <a:p>
            <a:pPr marL="236538" lvl="1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Low Enriched Uranium (LEU) – 3% to 5% U-235</a:t>
            </a:r>
          </a:p>
          <a:p>
            <a:pPr marL="236538" lvl="1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Depleted Uranium (DU) – 0.2% to 0.3% U-235</a:t>
            </a:r>
          </a:p>
        </p:txBody>
      </p:sp>
    </p:spTree>
    <p:extLst>
      <p:ext uri="{BB962C8B-B14F-4D97-AF65-F5344CB8AC3E}">
        <p14:creationId xmlns:p14="http://schemas.microsoft.com/office/powerpoint/2010/main" val="307033728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EF465E-4923-5590-35DF-B862B09F74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DUO</a:t>
            </a:r>
            <a:r>
              <a:rPr lang="en-US" sz="2400" baseline="-25000" dirty="0"/>
              <a:t>2</a:t>
            </a:r>
            <a:r>
              <a:rPr lang="en-US" sz="2400" dirty="0"/>
              <a:t> Cylinder Disposal at WCS in Andrews, TX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31083F8D-D21A-7F75-9B50-EB9A329BC2D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0175" y="858598"/>
            <a:ext cx="8778875" cy="5277329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6A618B7-340D-0BEE-9B02-3E42F25B6C33}"/>
              </a:ext>
            </a:extLst>
          </p:cNvPr>
          <p:cNvSpPr txBox="1"/>
          <p:nvPr/>
        </p:nvSpPr>
        <p:spPr>
          <a:xfrm>
            <a:off x="7013865" y="850579"/>
            <a:ext cx="1895186" cy="830997"/>
          </a:xfrm>
          <a:prstGeom prst="rect">
            <a:avLst/>
          </a:prstGeom>
          <a:solidFill>
            <a:schemeClr val="bg1">
              <a:alpha val="69607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Calibri" panose="020F0502020204030204" pitchFamily="34" charset="0"/>
                <a:cs typeface="Calibri" panose="020F0502020204030204" pitchFamily="34" charset="0"/>
              </a:rPr>
              <a:t>DU Cylinders</a:t>
            </a:r>
          </a:p>
          <a:p>
            <a:pPr indent="236538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4 feet diameter</a:t>
            </a:r>
          </a:p>
          <a:p>
            <a:pPr indent="236538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12 feet long</a:t>
            </a:r>
          </a:p>
          <a:p>
            <a:pPr indent="236538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28,000 lbs.</a:t>
            </a:r>
          </a:p>
        </p:txBody>
      </p:sp>
    </p:spTree>
    <p:extLst>
      <p:ext uri="{BB962C8B-B14F-4D97-AF65-F5344CB8AC3E}">
        <p14:creationId xmlns:p14="http://schemas.microsoft.com/office/powerpoint/2010/main" val="40478559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FE4FFF-CFB5-7540-9CC7-3EEA18AD7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50334"/>
            <a:ext cx="8629650" cy="510330"/>
          </a:xfrm>
        </p:spPr>
        <p:txBody>
          <a:bodyPr/>
          <a:lstStyle/>
          <a:p>
            <a:r>
              <a:rPr lang="en-US" dirty="0"/>
              <a:t>WCS - Local Activ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333383-8CBC-D741-8B60-75DF11EC4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176" y="749978"/>
            <a:ext cx="4623114" cy="5625422"/>
          </a:xfrm>
          <a:ln>
            <a:noFill/>
          </a:ln>
        </p:spPr>
        <p:txBody>
          <a:bodyPr/>
          <a:lstStyle/>
          <a:p>
            <a:pPr marL="0" indent="0">
              <a:spcAft>
                <a:spcPts val="400"/>
              </a:spcAft>
              <a:buNone/>
            </a:pPr>
            <a:r>
              <a:rPr lang="en-US" b="1" dirty="0"/>
              <a:t>Our Staff Lives in the Community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Largest private employer in Andrews county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Over 125 site employees, &gt;$15 million payroll</a:t>
            </a:r>
          </a:p>
          <a:p>
            <a:pPr lvl="1">
              <a:spcAft>
                <a:spcPts val="0"/>
              </a:spcAft>
            </a:pPr>
            <a:r>
              <a:rPr lang="en-US" sz="1400" dirty="0"/>
              <a:t>Employees are involved in the community </a:t>
            </a:r>
          </a:p>
          <a:p>
            <a:pPr marL="460375" lvl="2" indent="0">
              <a:spcAft>
                <a:spcPts val="400"/>
              </a:spcAft>
              <a:buNone/>
            </a:pPr>
            <a:r>
              <a:rPr lang="en-US" sz="1400" dirty="0"/>
              <a:t>(schools, chambers of commerce, churches, sports, etc.)</a:t>
            </a:r>
          </a:p>
          <a:p>
            <a:pPr marL="0" indent="0">
              <a:spcAft>
                <a:spcPts val="400"/>
              </a:spcAft>
              <a:buNone/>
            </a:pPr>
            <a:r>
              <a:rPr lang="en-US" b="1" dirty="0"/>
              <a:t>Local Engagement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High School credit course and internships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Outreach to Andrews and regional communities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WCS office and staff presence in center of town</a:t>
            </a:r>
          </a:p>
          <a:p>
            <a:pPr marL="0" indent="-7937">
              <a:spcAft>
                <a:spcPts val="400"/>
              </a:spcAft>
              <a:buNone/>
            </a:pPr>
            <a:r>
              <a:rPr lang="en-US" b="1" dirty="0"/>
              <a:t>Financial Support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Over $300 million invested in site and facilities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Purchase of supplies and services from local companies</a:t>
            </a:r>
          </a:p>
          <a:p>
            <a:pPr lvl="1">
              <a:spcAft>
                <a:spcPts val="400"/>
              </a:spcAft>
            </a:pPr>
            <a:r>
              <a:rPr lang="en-US" sz="1400" dirty="0"/>
              <a:t>Financial contributions to Community Activities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Education Foundation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Scholarships, Public Safety, Sports Teams, etc.</a:t>
            </a:r>
            <a:endParaRPr lang="en-US" b="1" dirty="0"/>
          </a:p>
          <a:p>
            <a:pPr lvl="1">
              <a:spcAft>
                <a:spcPts val="400"/>
              </a:spcAft>
            </a:pPr>
            <a:r>
              <a:rPr lang="en-US" sz="1400" dirty="0"/>
              <a:t>Special Surcharges (5% of LLRW disposal revenue)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Paid in addition to all normal taxes and fees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Supports quality-of-life community improvements</a:t>
            </a:r>
          </a:p>
          <a:p>
            <a:pPr lvl="2">
              <a:spcAft>
                <a:spcPts val="400"/>
              </a:spcAft>
            </a:pPr>
            <a:r>
              <a:rPr lang="en-US" sz="1400" dirty="0"/>
              <a:t>$20.4 million provided to Andrews County so fa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1C5C9B4-7098-AC4B-999F-00EAF40870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3048" y="3760556"/>
            <a:ext cx="3784826" cy="20289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 descr="A group of people standing in a construction site&#10;&#10;Description automatically generated">
            <a:extLst>
              <a:ext uri="{FF2B5EF4-FFF2-40B4-BE49-F238E27FC236}">
                <a16:creationId xmlns:a16="http://schemas.microsoft.com/office/drawing/2014/main" id="{3B8C95BC-AE6D-956C-DFC7-58FCC7E29A3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91346" y="1042927"/>
            <a:ext cx="3488230" cy="2235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962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EE5A73-1EDA-6366-33E8-CA4EA40BF2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30A194-8F98-4ED7-87E6-BFA2E14CF0A2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4" name="Picture 3" descr="An aerial view of a desert area&#10;&#10;AI-generated content may be incorrect.">
            <a:extLst>
              <a:ext uri="{FF2B5EF4-FFF2-40B4-BE49-F238E27FC236}">
                <a16:creationId xmlns:a16="http://schemas.microsoft.com/office/drawing/2014/main" id="{20E9E947-2EB6-26DA-3DF3-0A1D1DEFFF9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6" y="-1"/>
            <a:ext cx="9141994" cy="68580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37C192-983C-66CB-B092-F80A32FB169F}"/>
              </a:ext>
            </a:extLst>
          </p:cNvPr>
          <p:cNvSpPr txBox="1"/>
          <p:nvPr/>
        </p:nvSpPr>
        <p:spPr>
          <a:xfrm>
            <a:off x="6701159" y="4131965"/>
            <a:ext cx="9188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mpact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cilit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C4C408-10B3-7705-3E6C-951D6399816E}"/>
              </a:ext>
            </a:extLst>
          </p:cNvPr>
          <p:cNvSpPr txBox="1"/>
          <p:nvPr/>
        </p:nvSpPr>
        <p:spPr>
          <a:xfrm>
            <a:off x="4688418" y="3198166"/>
            <a:ext cx="8001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n w="3175"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ederal </a:t>
            </a:r>
          </a:p>
          <a:p>
            <a:r>
              <a:rPr lang="en-US" sz="1200" dirty="0">
                <a:ln w="3175">
                  <a:noFill/>
                </a:ln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c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57BAC31-4342-CDB9-893C-0EA2DB4E2AFF}"/>
              </a:ext>
            </a:extLst>
          </p:cNvPr>
          <p:cNvSpPr txBox="1"/>
          <p:nvPr/>
        </p:nvSpPr>
        <p:spPr>
          <a:xfrm>
            <a:off x="3634924" y="4270464"/>
            <a:ext cx="10534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Hazardous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Waste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Landfil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8D2B87-3F13-2D67-A984-0D41FFBD8A03}"/>
              </a:ext>
            </a:extLst>
          </p:cNvPr>
          <p:cNvSpPr txBox="1"/>
          <p:nvPr/>
        </p:nvSpPr>
        <p:spPr>
          <a:xfrm>
            <a:off x="2325571" y="2376131"/>
            <a:ext cx="9717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yproduct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c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53372E-7BEF-C68D-EDAE-1BB99F0AA10D}"/>
              </a:ext>
            </a:extLst>
          </p:cNvPr>
          <p:cNvSpPr txBox="1"/>
          <p:nvPr/>
        </p:nvSpPr>
        <p:spPr>
          <a:xfrm>
            <a:off x="1718714" y="5410304"/>
            <a:ext cx="13617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dministration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Building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FD1F81-B992-49D2-44FB-55066DB6A0AF}"/>
              </a:ext>
            </a:extLst>
          </p:cNvPr>
          <p:cNvSpPr txBox="1"/>
          <p:nvPr/>
        </p:nvSpPr>
        <p:spPr>
          <a:xfrm>
            <a:off x="3404352" y="5345761"/>
            <a:ext cx="108927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reatment </a:t>
            </a:r>
          </a:p>
          <a:p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Facilitie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72E42A-9151-F7F7-C141-57E91651126E}"/>
              </a:ext>
            </a:extLst>
          </p:cNvPr>
          <p:cNvSpPr txBox="1"/>
          <p:nvPr/>
        </p:nvSpPr>
        <p:spPr>
          <a:xfrm>
            <a:off x="4924594" y="5871969"/>
            <a:ext cx="7393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ail 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  <a:effectLst>
                  <a:glow rad="101600">
                    <a:schemeClr val="tx1">
                      <a:alpha val="40000"/>
                    </a:schemeClr>
                  </a:glow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fload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C2BD976-985C-3D60-26D4-6AFF150174D3}"/>
              </a:ext>
            </a:extLst>
          </p:cNvPr>
          <p:cNvSpPr txBox="1">
            <a:spLocks/>
          </p:cNvSpPr>
          <p:nvPr/>
        </p:nvSpPr>
        <p:spPr>
          <a:xfrm>
            <a:off x="266700" y="50334"/>
            <a:ext cx="3369386" cy="510330"/>
          </a:xfrm>
          <a:prstGeom prst="rect">
            <a:avLst/>
          </a:prstGeom>
          <a:solidFill>
            <a:schemeClr val="bg1">
              <a:alpha val="7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aseline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300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en-US" kern="0" dirty="0">
                <a:latin typeface="+mj-lt"/>
                <a:cs typeface="Arial" panose="020B0604020202020204" pitchFamily="34" charset="0"/>
              </a:rPr>
              <a:t>WCS Site – Faciliti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08A3702-3E44-6F3F-FE9E-B845F68B1048}"/>
              </a:ext>
            </a:extLst>
          </p:cNvPr>
          <p:cNvSpPr txBox="1"/>
          <p:nvPr/>
        </p:nvSpPr>
        <p:spPr>
          <a:xfrm>
            <a:off x="5507915" y="270259"/>
            <a:ext cx="3309998" cy="815608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en-US" dirty="0">
                <a:latin typeface="+mn-lt"/>
              </a:rPr>
              <a:t>14,000 acres (permitted area is 1,400 acres)</a:t>
            </a:r>
          </a:p>
          <a:p>
            <a:pPr>
              <a:spcAft>
                <a:spcPts val="300"/>
              </a:spcAft>
            </a:pPr>
            <a:r>
              <a:rPr lang="en-US" dirty="0">
                <a:latin typeface="+mn-lt"/>
              </a:rPr>
              <a:t>4 landfills, treatment facilities, rail access</a:t>
            </a:r>
          </a:p>
          <a:p>
            <a:pPr>
              <a:spcAft>
                <a:spcPts val="300"/>
              </a:spcAft>
            </a:pPr>
            <a:r>
              <a:rPr lang="en-US" dirty="0">
                <a:latin typeface="+mn-lt"/>
              </a:rPr>
              <a:t>Located on red-bed ridge</a:t>
            </a:r>
          </a:p>
        </p:txBody>
      </p:sp>
    </p:spTree>
    <p:extLst>
      <p:ext uri="{BB962C8B-B14F-4D97-AF65-F5344CB8AC3E}">
        <p14:creationId xmlns:p14="http://schemas.microsoft.com/office/powerpoint/2010/main" val="33986119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ECCEEA8-DA87-9A4A-A7FC-65AFB2C8FBB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79" t="12531" r="3815" b="9337"/>
          <a:stretch/>
        </p:blipFill>
        <p:spPr>
          <a:xfrm>
            <a:off x="618185" y="502396"/>
            <a:ext cx="7859726" cy="42314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13FE97-AE45-E940-BFF4-69594775C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CS Environmental Protection </a:t>
            </a:r>
            <a:r>
              <a:rPr lang="en-US" sz="2400" dirty="0"/>
              <a:t>(vs. Generic Facility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DE4C75-C852-3A46-95BB-CD026F04C0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23042" y="4829680"/>
            <a:ext cx="3980579" cy="1464996"/>
          </a:xfrm>
          <a:ln>
            <a:noFill/>
          </a:ln>
        </p:spPr>
        <p:txBody>
          <a:bodyPr/>
          <a:lstStyle/>
          <a:p>
            <a:pPr marL="227013" lvl="1" indent="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None/>
            </a:pPr>
            <a:r>
              <a:rPr lang="en-US" u="sng" dirty="0"/>
              <a:t>Key Attributes of WCS site:</a:t>
            </a:r>
          </a:p>
          <a:p>
            <a:pPr marL="569913" lvl="1" indent="-34290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en-US" dirty="0"/>
              <a:t>Sub-Grade Design</a:t>
            </a:r>
          </a:p>
          <a:p>
            <a:pPr marL="569913" lvl="1" indent="-34290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en-US" dirty="0"/>
              <a:t>Natural Claystone Barrier</a:t>
            </a:r>
          </a:p>
          <a:p>
            <a:pPr marL="569913" lvl="1" indent="-34290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en-US" dirty="0"/>
              <a:t>Thick Cover Design</a:t>
            </a:r>
          </a:p>
          <a:p>
            <a:pPr marL="569913" lvl="1" indent="-342900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</a:pPr>
            <a:r>
              <a:rPr lang="en-US" dirty="0"/>
              <a:t>No viable pathway to groundwater</a:t>
            </a:r>
          </a:p>
          <a:p>
            <a:pPr lvl="2"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buSzPct val="100000"/>
              <a:buFont typeface="Wingdings" pitchFamily="2" charset="2"/>
              <a:buChar char="§"/>
            </a:pPr>
            <a:endParaRPr lang="en-US" sz="14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CF3BBD2-13BF-F446-A03D-37D5DB976151}"/>
              </a:ext>
            </a:extLst>
          </p:cNvPr>
          <p:cNvSpPr txBox="1"/>
          <p:nvPr/>
        </p:nvSpPr>
        <p:spPr>
          <a:xfrm>
            <a:off x="1743635" y="849405"/>
            <a:ext cx="17588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WCS Disposa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FFB7D9-3CD3-8949-86B2-3CA1B9E9DC1A}"/>
              </a:ext>
            </a:extLst>
          </p:cNvPr>
          <p:cNvSpPr/>
          <p:nvPr/>
        </p:nvSpPr>
        <p:spPr>
          <a:xfrm>
            <a:off x="1930401" y="6455800"/>
            <a:ext cx="5007522" cy="30777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b="1" dirty="0">
                <a:latin typeface="+mj-lt"/>
              </a:rPr>
              <a:t>WCS is the Newest and Most Robust LLRW facility in the U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81E89D-A6A3-6B48-A37A-28B2956C4CA7}"/>
              </a:ext>
            </a:extLst>
          </p:cNvPr>
          <p:cNvSpPr txBox="1"/>
          <p:nvPr/>
        </p:nvSpPr>
        <p:spPr>
          <a:xfrm>
            <a:off x="5938927" y="730047"/>
            <a:ext cx="15295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Other Facilities</a:t>
            </a:r>
          </a:p>
        </p:txBody>
      </p:sp>
    </p:spTree>
    <p:extLst>
      <p:ext uri="{BB962C8B-B14F-4D97-AF65-F5344CB8AC3E}">
        <p14:creationId xmlns:p14="http://schemas.microsoft.com/office/powerpoint/2010/main" val="5256474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/>
        </p:nvSpPr>
        <p:spPr>
          <a:xfrm>
            <a:off x="596397" y="763593"/>
            <a:ext cx="7872413" cy="521228"/>
          </a:xfrm>
          <a:prstGeom prst="rect">
            <a:avLst/>
          </a:prstGeom>
        </p:spPr>
        <p:txBody>
          <a:bodyPr vert="horz" lIns="68580" tIns="34290" rIns="68580" bIns="3429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350" i="1" dirty="0"/>
              <a:t>Over 640 wells/soil borings, numerous geologic/hydrologic investigations: 15 major geologic studies;</a:t>
            </a:r>
          </a:p>
          <a:p>
            <a:pPr algn="ctr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350" i="1" dirty="0"/>
              <a:t>18 major hydrogeologic studies; 10 geophysical investigations.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16573927"/>
              </p:ext>
            </p:extLst>
          </p:nvPr>
        </p:nvGraphicFramePr>
        <p:xfrm>
          <a:off x="542157" y="1284822"/>
          <a:ext cx="7759223" cy="50212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DF Document" r:id="rId3" imgW="11658600" imgH="7543800" progId="NuancePDF.Document">
                  <p:embed/>
                </p:oleObj>
              </mc:Choice>
              <mc:Fallback>
                <p:oleObj name="PDF Document" r:id="rId3" imgW="11658600" imgH="7543800" progId="NuancePDF.Document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542157" y="1284822"/>
                        <a:ext cx="7759223" cy="50212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004AB407-8D13-36AB-9AAB-1FC31B8A1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sive Subsurface Characteriza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4008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AEEFFFF-0400-49B4-877B-484FC3E2302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7816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995B-2E3F-1B45-B1BA-1AFD4734C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50334"/>
            <a:ext cx="8629650" cy="510330"/>
          </a:xfrm>
        </p:spPr>
        <p:txBody>
          <a:bodyPr/>
          <a:lstStyle/>
          <a:p>
            <a:r>
              <a:rPr lang="en-US" dirty="0"/>
              <a:t>Performance Assessmen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5B912EC-DA37-9942-A45E-9A7A2A6DA5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175" y="834821"/>
            <a:ext cx="4441825" cy="5324475"/>
          </a:xfrm>
          <a:ln>
            <a:noFill/>
          </a:ln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dirty="0" err="1"/>
              <a:t>GoldSim</a:t>
            </a:r>
            <a:r>
              <a:rPr lang="en-US" dirty="0"/>
              <a:t>-based modeling</a:t>
            </a:r>
          </a:p>
          <a:p>
            <a:r>
              <a:rPr lang="en-US" dirty="0"/>
              <a:t>Integrated PA for entire site examines: </a:t>
            </a:r>
          </a:p>
          <a:p>
            <a:pPr lvl="1"/>
            <a:r>
              <a:rPr lang="en-US" sz="1400" dirty="0"/>
              <a:t>site geology</a:t>
            </a:r>
          </a:p>
          <a:p>
            <a:pPr lvl="1"/>
            <a:r>
              <a:rPr lang="en-US" sz="1400" dirty="0"/>
              <a:t>surface water and groundwater</a:t>
            </a:r>
          </a:p>
          <a:p>
            <a:pPr lvl="1"/>
            <a:r>
              <a:rPr lang="en-US" sz="1400" dirty="0"/>
              <a:t>potential future weather changes</a:t>
            </a:r>
          </a:p>
          <a:p>
            <a:pPr lvl="1"/>
            <a:r>
              <a:rPr lang="en-US" sz="1400" dirty="0"/>
              <a:t>residential and intrusion scenarios</a:t>
            </a:r>
          </a:p>
          <a:p>
            <a:pPr lvl="1">
              <a:spcAft>
                <a:spcPts val="1200"/>
              </a:spcAft>
            </a:pPr>
            <a:r>
              <a:rPr lang="en-US" sz="1400" dirty="0"/>
              <a:t>possible future uses of the land</a:t>
            </a:r>
          </a:p>
          <a:p>
            <a:pPr>
              <a:spcAft>
                <a:spcPts val="1200"/>
              </a:spcAft>
            </a:pPr>
            <a:r>
              <a:rPr lang="en-US" dirty="0"/>
              <a:t>10,000-year compliance period, evaluated to one million (1,000,000) years </a:t>
            </a:r>
          </a:p>
          <a:p>
            <a:pPr>
              <a:spcAft>
                <a:spcPts val="1200"/>
              </a:spcAft>
            </a:pPr>
            <a:r>
              <a:rPr lang="en-US" dirty="0"/>
              <a:t>Majority of radionuclides have short half-life (Co-60, Fe-55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>
              <a:spcAft>
                <a:spcPts val="1200"/>
              </a:spcAft>
            </a:pPr>
            <a:r>
              <a:rPr lang="en-US" dirty="0"/>
              <a:t>Some have longer half-life (C-14, N-63, U-238, Tc-99) </a:t>
            </a:r>
          </a:p>
          <a:p>
            <a:pPr>
              <a:spcAft>
                <a:spcPts val="1200"/>
              </a:spcAft>
            </a:pPr>
            <a:r>
              <a:rPr lang="en-US" dirty="0"/>
              <a:t>Current disposed inventory has a peak dose of </a:t>
            </a:r>
            <a:r>
              <a:rPr lang="en-US" sz="1800" b="1" dirty="0"/>
              <a:t>0.5</a:t>
            </a:r>
            <a:r>
              <a:rPr lang="en-US" dirty="0"/>
              <a:t> millirem per year - after &gt;10,000 years</a:t>
            </a:r>
          </a:p>
        </p:txBody>
      </p:sp>
      <p:pic>
        <p:nvPicPr>
          <p:cNvPr id="6" name="Picture 5" descr="TCEQ Performance Assessment approval letter">
            <a:extLst>
              <a:ext uri="{FF2B5EF4-FFF2-40B4-BE49-F238E27FC236}">
                <a16:creationId xmlns:a16="http://schemas.microsoft.com/office/drawing/2014/main" id="{DD5DEF81-F8B6-8242-B976-A8D8AC7B95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-5280000">
            <a:off x="4377465" y="1600093"/>
            <a:ext cx="5013914" cy="3874388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25950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F4E69F09-23CD-16A3-66F9-5373660B0A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rcRect/>
          <a:stretch/>
        </p:blipFill>
        <p:spPr>
          <a:xfrm>
            <a:off x="130175" y="864181"/>
            <a:ext cx="8778875" cy="52661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0" y="50334"/>
            <a:ext cx="8502650" cy="510330"/>
          </a:xfrm>
        </p:spPr>
        <p:txBody>
          <a:bodyPr>
            <a:noAutofit/>
          </a:bodyPr>
          <a:lstStyle/>
          <a:p>
            <a:r>
              <a:rPr lang="en-US" dirty="0">
                <a:cs typeface="Times New Roman" pitchFamily="18" charset="0"/>
              </a:rPr>
              <a:t>Compact Waste Facilit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7680E2D-A396-2E47-9B41-B35AFEE73C2A}"/>
              </a:ext>
            </a:extLst>
          </p:cNvPr>
          <p:cNvSpPr/>
          <p:nvPr/>
        </p:nvSpPr>
        <p:spPr>
          <a:xfrm>
            <a:off x="217510" y="5009187"/>
            <a:ext cx="4102637" cy="954107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>
            <a:spAutoFit/>
          </a:bodyPr>
          <a:lstStyle/>
          <a:p>
            <a:pPr indent="-413067"/>
            <a:r>
              <a:rPr lang="en-US" dirty="0"/>
              <a:t>Texas owned </a:t>
            </a:r>
          </a:p>
          <a:p>
            <a:pPr indent="-413067"/>
            <a:r>
              <a:rPr lang="en-US" dirty="0"/>
              <a:t>Privately-developed and operated</a:t>
            </a:r>
          </a:p>
          <a:p>
            <a:pPr indent="-413067"/>
            <a:r>
              <a:rPr lang="en-US" dirty="0"/>
              <a:t>Regulated by TCEQ (2 on-site inspectors)</a:t>
            </a:r>
          </a:p>
          <a:p>
            <a:pPr indent="-413067"/>
            <a:r>
              <a:rPr lang="en-US" dirty="0"/>
              <a:t>Opened in 2012</a:t>
            </a:r>
          </a:p>
        </p:txBody>
      </p:sp>
    </p:spTree>
    <p:extLst>
      <p:ext uri="{BB962C8B-B14F-4D97-AF65-F5344CB8AC3E}">
        <p14:creationId xmlns:p14="http://schemas.microsoft.com/office/powerpoint/2010/main" val="38087950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65E3E0D-7D4E-1ECA-CF33-B46E64D7F3A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599" y="1281023"/>
            <a:ext cx="8289025" cy="46625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50334"/>
            <a:ext cx="8515350" cy="510330"/>
          </a:xfrm>
        </p:spPr>
        <p:txBody>
          <a:bodyPr>
            <a:noAutofit/>
          </a:bodyPr>
          <a:lstStyle/>
          <a:p>
            <a:r>
              <a:rPr lang="en-US" dirty="0">
                <a:cs typeface="Times New Roman" pitchFamily="18" charset="0"/>
              </a:rPr>
              <a:t>Federal Waste Facilit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A28CC7A-ADF6-F94E-AA9F-18246CD81BCA}"/>
              </a:ext>
            </a:extLst>
          </p:cNvPr>
          <p:cNvSpPr/>
          <p:nvPr/>
        </p:nvSpPr>
        <p:spPr>
          <a:xfrm>
            <a:off x="173420" y="4682655"/>
            <a:ext cx="4398580" cy="107721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>
            <a:spAutoFit/>
          </a:bodyPr>
          <a:lstStyle/>
          <a:p>
            <a:pPr indent="-914400"/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deral government takes ownership post-closure</a:t>
            </a:r>
          </a:p>
          <a:p>
            <a:pPr indent="-914400"/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ivately-developed and operated</a:t>
            </a:r>
          </a:p>
          <a:p>
            <a:pPr indent="-914400"/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gulated by TCEQ</a:t>
            </a:r>
          </a:p>
          <a:p>
            <a:pPr indent="-914400"/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pened in 2013</a:t>
            </a:r>
          </a:p>
        </p:txBody>
      </p:sp>
    </p:spTree>
    <p:extLst>
      <p:ext uri="{BB962C8B-B14F-4D97-AF65-F5344CB8AC3E}">
        <p14:creationId xmlns:p14="http://schemas.microsoft.com/office/powerpoint/2010/main" val="701307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m2iyo5SX2CeDn6vlPWiA"/>
</p:tagLst>
</file>

<file path=ppt/theme/theme1.xml><?xml version="1.0" encoding="utf-8"?>
<a:theme xmlns:a="http://schemas.openxmlformats.org/drawingml/2006/main" name="9_Default Design">
  <a:themeElements>
    <a:clrScheme name="JF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399"/>
      </a:accent1>
      <a:accent2>
        <a:srgbClr val="FF0000"/>
      </a:accent2>
      <a:accent3>
        <a:srgbClr val="CCCCCC"/>
      </a:accent3>
      <a:accent4>
        <a:srgbClr val="00B050"/>
      </a:accent4>
      <a:accent5>
        <a:srgbClr val="FFC000"/>
      </a:accent5>
      <a:accent6>
        <a:srgbClr val="8686FF"/>
      </a:accent6>
      <a:hlink>
        <a:srgbClr val="0000D0"/>
      </a:hlink>
      <a:folHlink>
        <a:srgbClr val="99CC00"/>
      </a:folHlink>
    </a:clrScheme>
    <a:fontScheme name="Times New Roma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ln>
          <a:tailEnd type="triangle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9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0_Default Design">
  <a:themeElements>
    <a:clrScheme name="JF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399"/>
      </a:accent1>
      <a:accent2>
        <a:srgbClr val="FF0000"/>
      </a:accent2>
      <a:accent3>
        <a:srgbClr val="CCCCCC"/>
      </a:accent3>
      <a:accent4>
        <a:srgbClr val="00B050"/>
      </a:accent4>
      <a:accent5>
        <a:srgbClr val="FFC000"/>
      </a:accent5>
      <a:accent6>
        <a:srgbClr val="8686FF"/>
      </a:accent6>
      <a:hlink>
        <a:srgbClr val="0000D0"/>
      </a:hlink>
      <a:folHlink>
        <a:srgbClr val="99CC00"/>
      </a:folHlink>
    </a:clrScheme>
    <a:fontScheme name="Times New Roma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20000"/>
            <a:lumOff val="80000"/>
          </a:schemeClr>
        </a:solidFill>
        <a:ln>
          <a:noFill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171450" marR="0" indent="-17145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Arial" panose="020B0604020202020204" pitchFamily="34" charset="0"/>
          <a:buChar char="•"/>
          <a:tabLst/>
          <a:defRPr sz="800" dirty="0" smtClean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9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9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562</TotalTime>
  <Words>1535</Words>
  <Application>Microsoft Macintosh PowerPoint</Application>
  <PresentationFormat>On-screen Show (4:3)</PresentationFormat>
  <Paragraphs>290</Paragraphs>
  <Slides>3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2</vt:i4>
      </vt:variant>
    </vt:vector>
  </HeadingPairs>
  <TitlesOfParts>
    <vt:vector size="43" baseType="lpstr">
      <vt:lpstr>Aptos Display</vt:lpstr>
      <vt:lpstr>Arial</vt:lpstr>
      <vt:lpstr>Avenir</vt:lpstr>
      <vt:lpstr>Calibri</vt:lpstr>
      <vt:lpstr>Times New Roman</vt:lpstr>
      <vt:lpstr>Verdana</vt:lpstr>
      <vt:lpstr>Wingdings</vt:lpstr>
      <vt:lpstr>9_Default Design</vt:lpstr>
      <vt:lpstr>10_Default Design</vt:lpstr>
      <vt:lpstr>PDF Document</vt:lpstr>
      <vt:lpstr>think-cell Slide</vt:lpstr>
      <vt:lpstr>PowerPoint Presentation</vt:lpstr>
      <vt:lpstr>What We Do</vt:lpstr>
      <vt:lpstr>WCS Site – Relative Distances</vt:lpstr>
      <vt:lpstr>PowerPoint Presentation</vt:lpstr>
      <vt:lpstr>WCS Environmental Protection (vs. Generic Facility)</vt:lpstr>
      <vt:lpstr>Extensive Subsurface Characterization</vt:lpstr>
      <vt:lpstr>Performance Assessment</vt:lpstr>
      <vt:lpstr>Compact Waste Facility</vt:lpstr>
      <vt:lpstr>Federal Waste Facility</vt:lpstr>
      <vt:lpstr>RCRA Subtitle C Landfill (Low Activity Waste)</vt:lpstr>
      <vt:lpstr>WCS Transportation / Logistics</vt:lpstr>
      <vt:lpstr>Transportation Casks</vt:lpstr>
      <vt:lpstr>Cask Receipt</vt:lpstr>
      <vt:lpstr>Offloading a Liner from a Transportation Cask</vt:lpstr>
      <vt:lpstr>Transfer MCC to Disposal</vt:lpstr>
      <vt:lpstr>Irradiated Hardware Casks</vt:lpstr>
      <vt:lpstr>Highway Transportation</vt:lpstr>
      <vt:lpstr>Rail Access</vt:lpstr>
      <vt:lpstr>Rail Transportation</vt:lpstr>
      <vt:lpstr>WCS Waste Treatment/Processing LLRW, Mixed Waste, and Hazardous Waste </vt:lpstr>
      <vt:lpstr>Waste Storage</vt:lpstr>
      <vt:lpstr>Waste Treatment – Waste Types</vt:lpstr>
      <vt:lpstr>Waste Treatment – Processes</vt:lpstr>
      <vt:lpstr>Treatment Facilities – MWTF</vt:lpstr>
      <vt:lpstr>Treatment Facilities – Perma-Con</vt:lpstr>
      <vt:lpstr>Other Treatment and Storage Capabilities</vt:lpstr>
      <vt:lpstr>DOE Problematic Waste Example</vt:lpstr>
      <vt:lpstr>Depleted Uranium Disposal</vt:lpstr>
      <vt:lpstr>DOE Depleted Uranium (DU) Cylinders in Storage</vt:lpstr>
      <vt:lpstr>DOE DUF6 Conversion Plants – Portsmouth and Paducah</vt:lpstr>
      <vt:lpstr>DUO2 Cylinder Disposal at WCS in Andrews, TX</vt:lpstr>
      <vt:lpstr>WCS - Local Activities</vt:lpstr>
    </vt:vector>
  </TitlesOfParts>
  <Company>J.F. Lehman &amp;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ephanie Ng</dc:creator>
  <cp:lastModifiedBy>David Carlson</cp:lastModifiedBy>
  <cp:revision>4115</cp:revision>
  <cp:lastPrinted>2025-02-13T20:18:12Z</cp:lastPrinted>
  <dcterms:created xsi:type="dcterms:W3CDTF">2007-04-05T20:39:28Z</dcterms:created>
  <dcterms:modified xsi:type="dcterms:W3CDTF">2025-04-09T12:54:58Z</dcterms:modified>
</cp:coreProperties>
</file>